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8"/>
    <p:sldMasterId id="2147483667" r:id="rId9"/>
    <p:sldMasterId id="2147483685" r:id="rId10"/>
    <p:sldMasterId id="2147483675" r:id="rId11"/>
    <p:sldMasterId id="2147483687" r:id="rId12"/>
  </p:sldMasterIdLst>
  <p:notesMasterIdLst>
    <p:notesMasterId r:id="rId40"/>
  </p:notesMasterIdLst>
  <p:sldIdLst>
    <p:sldId id="307" r:id="rId13"/>
    <p:sldId id="2147479291" r:id="rId14"/>
    <p:sldId id="2147471391" r:id="rId15"/>
    <p:sldId id="2147376458" r:id="rId16"/>
    <p:sldId id="2147478395" r:id="rId17"/>
    <p:sldId id="2147471390" r:id="rId18"/>
    <p:sldId id="2147471392" r:id="rId19"/>
    <p:sldId id="2147478463" r:id="rId20"/>
    <p:sldId id="2147478494" r:id="rId21"/>
    <p:sldId id="2147478495" r:id="rId22"/>
    <p:sldId id="2147478496" r:id="rId23"/>
    <p:sldId id="2147479303" r:id="rId24"/>
    <p:sldId id="2146847429" r:id="rId25"/>
    <p:sldId id="2376" r:id="rId26"/>
    <p:sldId id="2147470581" r:id="rId27"/>
    <p:sldId id="2147479292" r:id="rId28"/>
    <p:sldId id="2147479293" r:id="rId29"/>
    <p:sldId id="2147471393" r:id="rId30"/>
    <p:sldId id="500" r:id="rId31"/>
    <p:sldId id="2147375502" r:id="rId32"/>
    <p:sldId id="2146847745" r:id="rId33"/>
    <p:sldId id="2147373949" r:id="rId34"/>
    <p:sldId id="2147376263" r:id="rId35"/>
    <p:sldId id="2147376395" r:id="rId36"/>
    <p:sldId id="2147479290" r:id="rId37"/>
    <p:sldId id="308" r:id="rId38"/>
    <p:sldId id="317" r:id="rId3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941A"/>
    <a:srgbClr val="FF4E00"/>
    <a:srgbClr val="8B288D"/>
    <a:srgbClr val="3E2162"/>
    <a:srgbClr val="0E72BA"/>
    <a:srgbClr val="242E69"/>
    <a:srgbClr val="0172BD"/>
    <a:srgbClr val="00226E"/>
    <a:srgbClr val="FF8E3E"/>
    <a:srgbClr val="5C34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8F672-09F5-4D0E-8BC8-A23F9962CE83}" v="1" dt="2023-12-08T17:52:41.1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20" autoAdjust="0"/>
    <p:restoredTop sz="93447" autoAdjust="0"/>
  </p:normalViewPr>
  <p:slideViewPr>
    <p:cSldViewPr snapToGrid="0" snapToObjects="1">
      <p:cViewPr varScale="1">
        <p:scale>
          <a:sx n="61" d="100"/>
          <a:sy n="61" d="100"/>
        </p:scale>
        <p:origin x="904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viewProps" Target="view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microsoft.com/office/2015/10/relationships/revisionInfo" Target="revisionInfo.xml"/><Relationship Id="rId20" Type="http://schemas.openxmlformats.org/officeDocument/2006/relationships/slide" Target="slides/slide8.xml"/><Relationship Id="rId41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ua, Anurag" userId="cabda745-45a9-4fb7-955c-303f4ee68d0d" providerId="ADAL" clId="{0378F672-09F5-4D0E-8BC8-A23F9962CE83}"/>
    <pc:docChg chg="modSld">
      <pc:chgData name="Barua, Anurag" userId="cabda745-45a9-4fb7-955c-303f4ee68d0d" providerId="ADAL" clId="{0378F672-09F5-4D0E-8BC8-A23F9962CE83}" dt="2023-12-08T17:53:29.895" v="107" actId="1076"/>
      <pc:docMkLst>
        <pc:docMk/>
      </pc:docMkLst>
      <pc:sldChg chg="modSp mod">
        <pc:chgData name="Barua, Anurag" userId="cabda745-45a9-4fb7-955c-303f4ee68d0d" providerId="ADAL" clId="{0378F672-09F5-4D0E-8BC8-A23F9962CE83}" dt="2023-12-08T17:50:26.976" v="49" actId="20577"/>
        <pc:sldMkLst>
          <pc:docMk/>
          <pc:sldMk cId="1196823299" sldId="307"/>
        </pc:sldMkLst>
        <pc:spChg chg="mod">
          <ac:chgData name="Barua, Anurag" userId="cabda745-45a9-4fb7-955c-303f4ee68d0d" providerId="ADAL" clId="{0378F672-09F5-4D0E-8BC8-A23F9962CE83}" dt="2023-12-08T17:50:26.976" v="49" actId="20577"/>
          <ac:spMkLst>
            <pc:docMk/>
            <pc:sldMk cId="1196823299" sldId="307"/>
            <ac:spMk id="2" creationId="{BC75B72D-7602-A340-B17E-A920EB7E48B1}"/>
          </ac:spMkLst>
        </pc:spChg>
      </pc:sldChg>
      <pc:sldChg chg="addSp modSp mod">
        <pc:chgData name="Barua, Anurag" userId="cabda745-45a9-4fb7-955c-303f4ee68d0d" providerId="ADAL" clId="{0378F672-09F5-4D0E-8BC8-A23F9962CE83}" dt="2023-12-08T17:53:29.895" v="107" actId="1076"/>
        <pc:sldMkLst>
          <pc:docMk/>
          <pc:sldMk cId="240076960" sldId="2147479290"/>
        </pc:sldMkLst>
        <pc:spChg chg="add mod">
          <ac:chgData name="Barua, Anurag" userId="cabda745-45a9-4fb7-955c-303f4ee68d0d" providerId="ADAL" clId="{0378F672-09F5-4D0E-8BC8-A23F9962CE83}" dt="2023-12-08T17:53:23.767" v="106" actId="1076"/>
          <ac:spMkLst>
            <pc:docMk/>
            <pc:sldMk cId="240076960" sldId="2147479290"/>
            <ac:spMk id="2" creationId="{331175B7-7FB0-2350-B25E-A2BC55C3BCFB}"/>
          </ac:spMkLst>
        </pc:spChg>
        <pc:spChg chg="mod">
          <ac:chgData name="Barua, Anurag" userId="cabda745-45a9-4fb7-955c-303f4ee68d0d" providerId="ADAL" clId="{0378F672-09F5-4D0E-8BC8-A23F9962CE83}" dt="2023-12-08T17:53:29.895" v="107" actId="1076"/>
          <ac:spMkLst>
            <pc:docMk/>
            <pc:sldMk cId="240076960" sldId="2147479290"/>
            <ac:spMk id="9" creationId="{9768B36B-5430-61B2-A1D6-A8DD98BB76AA}"/>
          </ac:spMkLst>
        </pc:spChg>
      </pc:sldChg>
    </pc:docChg>
  </pc:docChgLst>
  <pc:docChgLst>
    <pc:chgData name="Barua, Anurag" userId="cabda745-45a9-4fb7-955c-303f4ee68d0d" providerId="ADAL" clId="{E7CD66BE-430E-4B7C-BDAD-842D10E6130F}"/>
    <pc:docChg chg="modSld">
      <pc:chgData name="Barua, Anurag" userId="cabda745-45a9-4fb7-955c-303f4ee68d0d" providerId="ADAL" clId="{E7CD66BE-430E-4B7C-BDAD-842D10E6130F}" dt="2023-07-21T20:14:59.996" v="4" actId="20577"/>
      <pc:docMkLst>
        <pc:docMk/>
      </pc:docMkLst>
      <pc:sldChg chg="modSp mod">
        <pc:chgData name="Barua, Anurag" userId="cabda745-45a9-4fb7-955c-303f4ee68d0d" providerId="ADAL" clId="{E7CD66BE-430E-4B7C-BDAD-842D10E6130F}" dt="2023-07-21T20:14:59.996" v="4" actId="20577"/>
        <pc:sldMkLst>
          <pc:docMk/>
          <pc:sldMk cId="698066322" sldId="2147479291"/>
        </pc:sldMkLst>
        <pc:spChg chg="mod">
          <ac:chgData name="Barua, Anurag" userId="cabda745-45a9-4fb7-955c-303f4ee68d0d" providerId="ADAL" clId="{E7CD66BE-430E-4B7C-BDAD-842D10E6130F}" dt="2023-07-21T20:14:59.996" v="4" actId="20577"/>
          <ac:spMkLst>
            <pc:docMk/>
            <pc:sldMk cId="698066322" sldId="2147479291"/>
            <ac:spMk id="6" creationId="{23A42202-C67E-1ED3-C956-AD7936B8E64C}"/>
          </ac:spMkLst>
        </pc:spChg>
      </pc:sldChg>
    </pc:docChg>
  </pc:docChgLst>
  <pc:docChgLst>
    <pc:chgData name="Barua, Anurag" userId="cabda745-45a9-4fb7-955c-303f4ee68d0d" providerId="ADAL" clId="{9E3431C5-080D-45C4-B614-F140F85BD45E}"/>
    <pc:docChg chg="undo custSel addSld delSld modSld">
      <pc:chgData name="Barua, Anurag" userId="cabda745-45a9-4fb7-955c-303f4ee68d0d" providerId="ADAL" clId="{9E3431C5-080D-45C4-B614-F140F85BD45E}" dt="2023-02-04T21:32:17.760" v="170"/>
      <pc:docMkLst>
        <pc:docMk/>
      </pc:docMkLst>
      <pc:sldChg chg="addSp modSp">
        <pc:chgData name="Barua, Anurag" userId="cabda745-45a9-4fb7-955c-303f4ee68d0d" providerId="ADAL" clId="{9E3431C5-080D-45C4-B614-F140F85BD45E}" dt="2023-02-04T21:32:17.760" v="170"/>
        <pc:sldMkLst>
          <pc:docMk/>
          <pc:sldMk cId="3964247212" sldId="317"/>
        </pc:sldMkLst>
        <pc:spChg chg="add mod">
          <ac:chgData name="Barua, Anurag" userId="cabda745-45a9-4fb7-955c-303f4ee68d0d" providerId="ADAL" clId="{9E3431C5-080D-45C4-B614-F140F85BD45E}" dt="2023-02-04T21:32:17.760" v="170"/>
          <ac:spMkLst>
            <pc:docMk/>
            <pc:sldMk cId="3964247212" sldId="317"/>
            <ac:spMk id="2" creationId="{116A72C5-C081-4AE6-9E03-C052EDBA85E9}"/>
          </ac:spMkLst>
        </pc:spChg>
      </pc:sldChg>
      <pc:sldChg chg="addSp delSp modSp mod">
        <pc:chgData name="Barua, Anurag" userId="cabda745-45a9-4fb7-955c-303f4ee68d0d" providerId="ADAL" clId="{9E3431C5-080D-45C4-B614-F140F85BD45E}" dt="2023-01-29T18:11:05.417" v="67" actId="478"/>
        <pc:sldMkLst>
          <pc:docMk/>
          <pc:sldMk cId="2633447614" sldId="500"/>
        </pc:sldMkLst>
        <pc:spChg chg="del">
          <ac:chgData name="Barua, Anurag" userId="cabda745-45a9-4fb7-955c-303f4ee68d0d" providerId="ADAL" clId="{9E3431C5-080D-45C4-B614-F140F85BD45E}" dt="2023-01-29T18:10:42.164" v="63" actId="478"/>
          <ac:spMkLst>
            <pc:docMk/>
            <pc:sldMk cId="2633447614" sldId="500"/>
            <ac:spMk id="3" creationId="{DED25278-8DDD-43F1-BC36-0010A3B0C70A}"/>
          </ac:spMkLst>
        </pc:spChg>
        <pc:spChg chg="del">
          <ac:chgData name="Barua, Anurag" userId="cabda745-45a9-4fb7-955c-303f4ee68d0d" providerId="ADAL" clId="{9E3431C5-080D-45C4-B614-F140F85BD45E}" dt="2023-01-29T18:10:42.164" v="63" actId="478"/>
          <ac:spMkLst>
            <pc:docMk/>
            <pc:sldMk cId="2633447614" sldId="500"/>
            <ac:spMk id="5" creationId="{00000000-0000-0000-0000-000000000000}"/>
          </ac:spMkLst>
        </pc:spChg>
        <pc:spChg chg="del">
          <ac:chgData name="Barua, Anurag" userId="cabda745-45a9-4fb7-955c-303f4ee68d0d" providerId="ADAL" clId="{9E3431C5-080D-45C4-B614-F140F85BD45E}" dt="2023-01-29T18:10:42.164" v="63" actId="478"/>
          <ac:spMkLst>
            <pc:docMk/>
            <pc:sldMk cId="2633447614" sldId="500"/>
            <ac:spMk id="8" creationId="{66A6A0A4-4CE2-4017-AA5F-256FFE917481}"/>
          </ac:spMkLst>
        </pc:spChg>
        <pc:spChg chg="add del mod">
          <ac:chgData name="Barua, Anurag" userId="cabda745-45a9-4fb7-955c-303f4ee68d0d" providerId="ADAL" clId="{9E3431C5-080D-45C4-B614-F140F85BD45E}" dt="2023-01-29T18:11:05.417" v="67" actId="478"/>
          <ac:spMkLst>
            <pc:docMk/>
            <pc:sldMk cId="2633447614" sldId="500"/>
            <ac:spMk id="10" creationId="{6A037058-ACB8-434B-94B0-9DB24E30BD02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1" creationId="{60DD3AE7-A985-4BB9-9DF3-6C9DD42B4002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2" creationId="{63136EA6-321D-4656-8FDB-993F94099857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3" creationId="{0B9E51BE-B1BF-4809-A3D7-BBDD17A6E125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4" creationId="{5F339558-BC3D-4EB3-B05E-95ABB3B8C41E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5" creationId="{80EEDE0E-45F0-457F-933E-165BCB1C8A63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6" creationId="{F583D4E4-8411-44E5-9E0C-67BAD8F1BAAD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7" creationId="{D6BD66D5-A1F7-44B7-AF29-4A58EDAE1755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8" creationId="{AB1E5A71-CCF1-4D06-B2AD-7BFDFDF124BC}"/>
          </ac:spMkLst>
        </pc:spChg>
        <pc:spChg chg="add del mod">
          <ac:chgData name="Barua, Anurag" userId="cabda745-45a9-4fb7-955c-303f4ee68d0d" providerId="ADAL" clId="{9E3431C5-080D-45C4-B614-F140F85BD45E}" dt="2023-01-29T18:10:59.267" v="66" actId="478"/>
          <ac:spMkLst>
            <pc:docMk/>
            <pc:sldMk cId="2633447614" sldId="500"/>
            <ac:spMk id="19" creationId="{20C2C559-40E6-4237-8A9A-B52C581735A1}"/>
          </ac:spMkLst>
        </pc:spChg>
        <pc:picChg chg="del">
          <ac:chgData name="Barua, Anurag" userId="cabda745-45a9-4fb7-955c-303f4ee68d0d" providerId="ADAL" clId="{9E3431C5-080D-45C4-B614-F140F85BD45E}" dt="2023-01-29T18:10:42.164" v="63" actId="478"/>
          <ac:picMkLst>
            <pc:docMk/>
            <pc:sldMk cId="2633447614" sldId="500"/>
            <ac:picMk id="6" creationId="{00000000-0000-0000-0000-000000000000}"/>
          </ac:picMkLst>
        </pc:picChg>
        <pc:picChg chg="del">
          <ac:chgData name="Barua, Anurag" userId="cabda745-45a9-4fb7-955c-303f4ee68d0d" providerId="ADAL" clId="{9E3431C5-080D-45C4-B614-F140F85BD45E}" dt="2023-01-29T18:10:42.164" v="63" actId="478"/>
          <ac:picMkLst>
            <pc:docMk/>
            <pc:sldMk cId="2633447614" sldId="500"/>
            <ac:picMk id="7" creationId="{00000000-0000-0000-0000-000000000000}"/>
          </ac:picMkLst>
        </pc:picChg>
        <pc:picChg chg="add del mod">
          <ac:chgData name="Barua, Anurag" userId="cabda745-45a9-4fb7-955c-303f4ee68d0d" providerId="ADAL" clId="{9E3431C5-080D-45C4-B614-F140F85BD45E}" dt="2023-01-29T18:10:59.267" v="66" actId="478"/>
          <ac:picMkLst>
            <pc:docMk/>
            <pc:sldMk cId="2633447614" sldId="500"/>
            <ac:picMk id="9" creationId="{7AF2F68B-851C-43E6-BAC8-9E7EC167C78E}"/>
          </ac:picMkLst>
        </pc:picChg>
      </pc:sldChg>
      <pc:sldChg chg="modSp del mod">
        <pc:chgData name="Barua, Anurag" userId="cabda745-45a9-4fb7-955c-303f4ee68d0d" providerId="ADAL" clId="{9E3431C5-080D-45C4-B614-F140F85BD45E}" dt="2023-02-04T21:31:42.177" v="169" actId="47"/>
        <pc:sldMkLst>
          <pc:docMk/>
          <pc:sldMk cId="1179887087" sldId="2142532750"/>
        </pc:sldMkLst>
        <pc:spChg chg="mod">
          <ac:chgData name="Barua, Anurag" userId="cabda745-45a9-4fb7-955c-303f4ee68d0d" providerId="ADAL" clId="{9E3431C5-080D-45C4-B614-F140F85BD45E}" dt="2023-01-29T15:54:23.065" v="37" actId="20577"/>
          <ac:spMkLst>
            <pc:docMk/>
            <pc:sldMk cId="1179887087" sldId="2142532750"/>
            <ac:spMk id="63" creationId="{31FA2A5D-DA54-4EE5-992D-41823FBDDF54}"/>
          </ac:spMkLst>
        </pc:spChg>
      </pc:sldChg>
      <pc:sldChg chg="addSp delSp modSp mod modAnim">
        <pc:chgData name="Barua, Anurag" userId="cabda745-45a9-4fb7-955c-303f4ee68d0d" providerId="ADAL" clId="{9E3431C5-080D-45C4-B614-F140F85BD45E}" dt="2023-01-29T18:07:53.536" v="62"/>
        <pc:sldMkLst>
          <pc:docMk/>
          <pc:sldMk cId="2133764371" sldId="2147308921"/>
        </pc:sldMkLst>
        <pc:spChg chg="del">
          <ac:chgData name="Barua, Anurag" userId="cabda745-45a9-4fb7-955c-303f4ee68d0d" providerId="ADAL" clId="{9E3431C5-080D-45C4-B614-F140F85BD45E}" dt="2023-01-29T18:07:30.451" v="61" actId="478"/>
          <ac:spMkLst>
            <pc:docMk/>
            <pc:sldMk cId="2133764371" sldId="2147308921"/>
            <ac:spMk id="4" creationId="{D98DC13A-0B7F-4669-BA98-DC2A4415F124}"/>
          </ac:spMkLst>
        </pc:spChg>
        <pc:spChg chg="del mod">
          <ac:chgData name="Barua, Anurag" userId="cabda745-45a9-4fb7-955c-303f4ee68d0d" providerId="ADAL" clId="{9E3431C5-080D-45C4-B614-F140F85BD45E}" dt="2023-01-29T18:07:30.451" v="61" actId="478"/>
          <ac:spMkLst>
            <pc:docMk/>
            <pc:sldMk cId="2133764371" sldId="2147308921"/>
            <ac:spMk id="47" creationId="{C02E31DA-1796-4F4E-8D1C-F1C6D885178B}"/>
          </ac:spMkLst>
        </pc:spChg>
        <pc:spChg chg="del">
          <ac:chgData name="Barua, Anurag" userId="cabda745-45a9-4fb7-955c-303f4ee68d0d" providerId="ADAL" clId="{9E3431C5-080D-45C4-B614-F140F85BD45E}" dt="2023-01-29T18:07:30.451" v="61" actId="478"/>
          <ac:spMkLst>
            <pc:docMk/>
            <pc:sldMk cId="2133764371" sldId="2147308921"/>
            <ac:spMk id="92" creationId="{FA9FD20F-B599-4F8E-94DD-B32AC079D266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0" creationId="{F9DFA3E4-521D-4F7A-8BD9-027FF330C33A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1" creationId="{AB04E522-E0E7-4AA6-80D2-BB28DF4E17B5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2" creationId="{814B2E32-1BFF-43CC-882A-0DD64A9DC849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3" creationId="{E54811F6-C77E-4031-98B7-EB2DE072C6DB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4" creationId="{B4E755F7-60FC-46DB-98DF-D85EA38F272F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5" creationId="{659F6961-6E6D-4214-9052-274FADB44DF3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6" creationId="{E5D65F10-35E5-4173-A035-910C58D19FCC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7" creationId="{B5247D2A-40C5-456A-804D-58B47F6432BD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8" creationId="{A9EC1B8C-7888-43AF-82F6-401D0681984B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49" creationId="{F9F5A944-2E2A-444B-AC1B-AE4E08CC1698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50" creationId="{4619477F-9047-4388-B7C6-BD59B3459B2A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51" creationId="{C37D9E25-AE3F-4F5F-A9BF-D8EC63A5EA49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52" creationId="{4780F51B-3820-4D0A-92A7-31113FFB0283}"/>
          </ac:spMkLst>
        </pc:spChg>
        <pc:spChg chg="add mod">
          <ac:chgData name="Barua, Anurag" userId="cabda745-45a9-4fb7-955c-303f4ee68d0d" providerId="ADAL" clId="{9E3431C5-080D-45C4-B614-F140F85BD45E}" dt="2023-01-29T18:07:53.536" v="62"/>
          <ac:spMkLst>
            <pc:docMk/>
            <pc:sldMk cId="2133764371" sldId="2147308921"/>
            <ac:spMk id="163" creationId="{1C9E3F2A-99E6-4E4C-947F-60CEE8BE193C}"/>
          </ac:spMkLst>
        </pc:s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5" creationId="{37D51AAB-EE9C-4F33-ADBE-9CE2E0EEEAA7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6" creationId="{5E434F95-4205-48B8-A8D9-71A7842DE332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7" creationId="{DEA9BAE0-DCFD-4E23-BF84-4DD05FCDE423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8" creationId="{E3950053-F8BA-4E84-AF8C-E6BF902D2318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9" creationId="{A8511309-7BB3-4303-BA7D-09208E52E6DD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0" creationId="{10E14132-4E00-4B84-90AD-8ED30DFA813D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1" creationId="{A0BF2975-E933-4CF7-BA34-787AD9B7806F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2" creationId="{BAD01815-164D-464E-8B2B-F6146B201D92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3" creationId="{AF364453-6D5D-45EA-A504-272BCF2C9262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64" creationId="{EC46CAEA-0D50-400A-BA8C-A7A1F59FB4B0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05" creationId="{963F9083-B0C2-42F6-B58D-3F501831E02E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11" creationId="{7BB947DE-6FC0-4B0D-86F6-5EE3CABBEBC7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16" creationId="{681B5B4A-59E9-44D5-8998-BD566F517B1E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22" creationId="{1FCD8398-C3F0-4543-B40A-63B1420FA506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28" creationId="{062BFFEB-73E3-4E01-A24D-29B580FCD56D}"/>
          </ac:grpSpMkLst>
        </pc:grpChg>
        <pc:grpChg chg="del">
          <ac:chgData name="Barua, Anurag" userId="cabda745-45a9-4fb7-955c-303f4ee68d0d" providerId="ADAL" clId="{9E3431C5-080D-45C4-B614-F140F85BD45E}" dt="2023-01-29T18:07:30.451" v="61" actId="478"/>
          <ac:grpSpMkLst>
            <pc:docMk/>
            <pc:sldMk cId="2133764371" sldId="2147308921"/>
            <ac:grpSpMk id="134" creationId="{BD80EF16-2E66-4568-8E74-6A64AB6F452C}"/>
          </ac:grpSpMkLst>
        </pc:grpChg>
        <pc:picChg chg="del">
          <ac:chgData name="Barua, Anurag" userId="cabda745-45a9-4fb7-955c-303f4ee68d0d" providerId="ADAL" clId="{9E3431C5-080D-45C4-B614-F140F85BD45E}" dt="2023-01-29T18:07:30.451" v="61" actId="478"/>
          <ac:picMkLst>
            <pc:docMk/>
            <pc:sldMk cId="2133764371" sldId="2147308921"/>
            <ac:picMk id="75" creationId="{1509CC86-08E2-4E54-BAF9-922054A865C1}"/>
          </ac:picMkLst>
        </pc:picChg>
        <pc:picChg chg="del">
          <ac:chgData name="Barua, Anurag" userId="cabda745-45a9-4fb7-955c-303f4ee68d0d" providerId="ADAL" clId="{9E3431C5-080D-45C4-B614-F140F85BD45E}" dt="2023-01-29T18:07:30.451" v="61" actId="478"/>
          <ac:picMkLst>
            <pc:docMk/>
            <pc:sldMk cId="2133764371" sldId="2147308921"/>
            <ac:picMk id="91" creationId="{6A2B78F2-C747-48D8-BC4F-DC96DB9B1863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3" creationId="{D23E9D71-5FBC-4791-99E7-936896F62CD2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4" creationId="{5666AF3C-F1D9-45C8-9DC5-810678BC070E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5" creationId="{ADC317C0-31C6-4199-8AF6-059EACDB8A69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6" creationId="{FD6542A2-32FA-4B76-95A5-57C73E4F8C50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7" creationId="{459FEAE3-2626-4DB8-8B68-E9FFF46F07A6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8" creationId="{7693E790-98F2-4E80-BDD3-91825C82B884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59" creationId="{E6AA740F-E128-4E0F-B996-770936C93D0F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60" creationId="{91AC02E5-9CCF-469F-83CD-ACF312266F2E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61" creationId="{8D81E3E0-0B6D-43F8-954A-F6A6EBD19314}"/>
          </ac:picMkLst>
        </pc:picChg>
        <pc:picChg chg="add mod">
          <ac:chgData name="Barua, Anurag" userId="cabda745-45a9-4fb7-955c-303f4ee68d0d" providerId="ADAL" clId="{9E3431C5-080D-45C4-B614-F140F85BD45E}" dt="2023-01-29T18:07:53.536" v="62"/>
          <ac:picMkLst>
            <pc:docMk/>
            <pc:sldMk cId="2133764371" sldId="2147308921"/>
            <ac:picMk id="162" creationId="{D2E7A921-BAAE-4BAA-984E-F95710CA1ABA}"/>
          </ac:picMkLst>
        </pc:picChg>
      </pc:sldChg>
      <pc:sldChg chg="modSp mod">
        <pc:chgData name="Barua, Anurag" userId="cabda745-45a9-4fb7-955c-303f4ee68d0d" providerId="ADAL" clId="{9E3431C5-080D-45C4-B614-F140F85BD45E}" dt="2023-01-29T15:54:49.565" v="59" actId="20577"/>
        <pc:sldMkLst>
          <pc:docMk/>
          <pc:sldMk cId="1450814610" sldId="2147376458"/>
        </pc:sldMkLst>
        <pc:spChg chg="mod">
          <ac:chgData name="Barua, Anurag" userId="cabda745-45a9-4fb7-955c-303f4ee68d0d" providerId="ADAL" clId="{9E3431C5-080D-45C4-B614-F140F85BD45E}" dt="2023-01-29T15:54:49.565" v="59" actId="20577"/>
          <ac:spMkLst>
            <pc:docMk/>
            <pc:sldMk cId="1450814610" sldId="2147376458"/>
            <ac:spMk id="3" creationId="{D9E383BD-430A-40BB-9378-BC67F76053CA}"/>
          </ac:spMkLst>
        </pc:spChg>
      </pc:sldChg>
      <pc:sldChg chg="addSp delSp modSp add mod">
        <pc:chgData name="Barua, Anurag" userId="cabda745-45a9-4fb7-955c-303f4ee68d0d" providerId="ADAL" clId="{9E3431C5-080D-45C4-B614-F140F85BD45E}" dt="2023-01-29T18:12:44.521" v="140" actId="478"/>
        <pc:sldMkLst>
          <pc:docMk/>
          <pc:sldMk cId="2023945749" sldId="2147471394"/>
        </pc:sldMkLst>
        <pc:spChg chg="mod">
          <ac:chgData name="Barua, Anurag" userId="cabda745-45a9-4fb7-955c-303f4ee68d0d" providerId="ADAL" clId="{9E3431C5-080D-45C4-B614-F140F85BD45E}" dt="2023-01-29T18:12:05.896" v="135" actId="20577"/>
          <ac:spMkLst>
            <pc:docMk/>
            <pc:sldMk cId="2023945749" sldId="2147471394"/>
            <ac:spMk id="2" creationId="{00000000-0000-0000-0000-000000000000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1" creationId="{60DD3AE7-A985-4BB9-9DF3-6C9DD42B4002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3" creationId="{0B9E51BE-B1BF-4809-A3D7-BBDD17A6E125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4" creationId="{5F339558-BC3D-4EB3-B05E-95ABB3B8C41E}"/>
          </ac:spMkLst>
        </pc:spChg>
        <pc:spChg chg="del">
          <ac:chgData name="Barua, Anurag" userId="cabda745-45a9-4fb7-955c-303f4ee68d0d" providerId="ADAL" clId="{9E3431C5-080D-45C4-B614-F140F85BD45E}" dt="2023-01-29T18:12:18.225" v="138" actId="478"/>
          <ac:spMkLst>
            <pc:docMk/>
            <pc:sldMk cId="2023945749" sldId="2147471394"/>
            <ac:spMk id="15" creationId="{80EEDE0E-45F0-457F-933E-165BCB1C8A63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6" creationId="{F583D4E4-8411-44E5-9E0C-67BAD8F1BAAD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7" creationId="{D6BD66D5-A1F7-44B7-AF29-4A58EDAE1755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8" creationId="{AB1E5A71-CCF1-4D06-B2AD-7BFDFDF124BC}"/>
          </ac:spMkLst>
        </pc:spChg>
        <pc:spChg chg="del">
          <ac:chgData name="Barua, Anurag" userId="cabda745-45a9-4fb7-955c-303f4ee68d0d" providerId="ADAL" clId="{9E3431C5-080D-45C4-B614-F140F85BD45E}" dt="2023-01-29T18:12:12.592" v="136" actId="478"/>
          <ac:spMkLst>
            <pc:docMk/>
            <pc:sldMk cId="2023945749" sldId="2147471394"/>
            <ac:spMk id="19" creationId="{20C2C559-40E6-4237-8A9A-B52C581735A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1" creationId="{3F84F02C-40BE-48BF-B2B9-D7C517665A4B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2" creationId="{DA91D0B3-6FD3-44BB-BD67-06608D904FB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4" creationId="{E839288C-C39F-4BFB-8483-F6504523A6C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5" creationId="{459092C8-544C-4CC4-A09D-BEE411F44EA3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6" creationId="{29958FB7-E7A4-418B-AC5E-EE92A3DDCE1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7" creationId="{546D3144-BEA6-41E3-A035-60FF29D1594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28" creationId="{0711AF34-A814-4AE2-80F7-2D042C8461BC}"/>
          </ac:spMkLst>
        </pc:spChg>
        <pc:spChg chg="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39" creationId="{63D21593-7202-4BAB-85A7-E46978A0D295}"/>
          </ac:spMkLst>
        </pc:spChg>
        <pc:spChg chg="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0" creationId="{F0CE657F-CBBD-4C71-94A9-5A4F57910747}"/>
          </ac:spMkLst>
        </pc:spChg>
        <pc:spChg chg="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1" creationId="{FA64CD3C-EC33-42D1-B4BC-C87BF067D3C5}"/>
          </ac:spMkLst>
        </pc:spChg>
        <pc:spChg chg="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2" creationId="{8AE7411D-7008-4BF3-BD7C-B8D5601BD5B2}"/>
          </ac:spMkLst>
        </pc:spChg>
        <pc:spChg chg="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3" creationId="{BD34F5B0-780D-4AFD-B447-CB3BA095E1A3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4" creationId="{471E819B-6300-415B-AEA2-0F8887A5C72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5" creationId="{F3B8E5F6-DA27-417B-A4F8-2F83EDA59CD9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6" creationId="{562E22E1-5930-4837-A10E-54CC3F6566C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7" creationId="{EDB090F0-865D-4FA3-9BF1-209B0708631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8" creationId="{17A92F7C-7E92-4E48-9D77-6F52BD524CB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49" creationId="{64459940-39DB-4B81-AC3D-E248F0DEB8D1}"/>
          </ac:spMkLst>
        </pc:spChg>
        <pc:spChg chg="add del mod">
          <ac:chgData name="Barua, Anurag" userId="cabda745-45a9-4fb7-955c-303f4ee68d0d" providerId="ADAL" clId="{9E3431C5-080D-45C4-B614-F140F85BD45E}" dt="2023-01-29T18:12:44.521" v="140" actId="478"/>
          <ac:spMkLst>
            <pc:docMk/>
            <pc:sldMk cId="2023945749" sldId="2147471394"/>
            <ac:spMk id="50" creationId="{CCC31496-3D6B-40A6-8018-AD7210F900C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1" creationId="{815F5852-2B70-47AE-810D-63C78214C2B3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3" creationId="{163DD89C-7A8E-44B9-B101-C55BE548871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4" creationId="{7E44BBEE-AF31-478C-8B4E-7B644E525F19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5" creationId="{058B759A-40FE-422D-BA7D-AF21E3BF3A2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6" creationId="{439DA5BC-66F7-4087-BC45-0753B4BB613D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7" creationId="{980740EE-5DEF-4066-A007-EEA90BA3A62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8" creationId="{B5231444-88E0-48CA-906B-89914B24BB72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59" creationId="{4CEE5266-361C-4C90-80FE-F20155F8CC89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0" creationId="{3AB96D47-0788-4631-814A-2E2D4A2A30D5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1" creationId="{C6FB2104-804B-445A-ACA4-5CC4864F918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2" creationId="{6DF9A18D-B0DC-418B-8F58-FC36D510992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3" creationId="{D44F6D8D-8E51-40AD-8F81-EEC94A71E9BC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4" creationId="{EECEEBB7-57C2-4860-B189-C8F87BB2F6A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5" creationId="{094442DB-F34D-4F69-910A-78F6089CC7E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6" creationId="{C54F3236-DB1B-43D4-A162-66699FBC4739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7" creationId="{8F8880BC-CD19-4C1A-9F32-D7820F85F71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8" creationId="{23078B22-06DE-4445-BB94-C60D0664101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69" creationId="{B0A26946-38C6-48E2-936E-6E9C47EF8768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74" creationId="{AD8725B8-C8FA-4699-BAC9-B6B05769D848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76" creationId="{2BCB7237-4A67-4C36-869B-E43793E61AC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77" creationId="{6AFDD107-3748-4ED4-89F4-A6962A463405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79" creationId="{E1EE4AFB-4AB6-4F95-AB43-366D49DD6CA9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0" creationId="{7A4628B7-005A-45BF-B592-864D7B90D1AC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1" creationId="{4F7DA1E3-9220-4AEA-8D16-3B1EB044799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2" creationId="{CB1FC0A5-AB78-4024-AD0E-3C82C7B80113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3" creationId="{38FCFE54-BA71-4087-9DC1-B594193DF45D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4" creationId="{470C4847-F4D7-4499-99CD-4FA42454138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5" creationId="{BBE3C7AA-5516-4D0F-A0AB-B621D7E168D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6" creationId="{4F0C3A71-62E8-4113-8DB4-40E16027D2C2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7" creationId="{604706B2-9314-431D-B4C4-8F068BD6C31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89" creationId="{3FC38277-4590-4726-B1A8-36541A09B82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0" creationId="{C05DBBA4-3365-489F-AF18-84582062514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1" creationId="{574647CD-7C8F-4EF5-803B-36AD429779F5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2" creationId="{1331C3D4-0BA4-4E98-BE10-802E88E94CD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3" creationId="{DD94CB1B-C5EE-4C66-ADEB-1312CAF3122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4" creationId="{DDB5EE66-E396-40BA-8DC1-E68E0602D13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5" creationId="{60E3786F-0166-4BD1-8464-301206E46B73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6" creationId="{96E85E25-AD07-4C67-9394-9608B5E1F3C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7" creationId="{441F2158-7343-4C64-A6DA-31CC5353AD1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8" creationId="{252F55AA-CAA0-44D2-9F73-C896AF06086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99" creationId="{817D7607-2200-4394-AB7F-F360E8CFFA98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0" creationId="{6A3AEE10-BCBA-4844-8EC2-167DAD6043C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1" creationId="{2E608E7D-4B0D-41FF-8454-42CCF00E7AF8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2" creationId="{1392E6F4-E7F2-41E8-B1C7-21AFE6F318C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3" creationId="{89B771DC-6735-4E98-99DC-8B843AC5003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4" creationId="{3DA72193-4A4A-4DA0-A737-F0B2AEAB0B6E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5" creationId="{A209839B-D3CC-43AE-87ED-5112C3590B87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6" creationId="{073035E8-5156-4564-80C1-250D9EA41E21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7" creationId="{7A6C9C0A-CEBB-4D1F-96C3-642817DEAE4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8" creationId="{7BE001AF-EA25-4349-A4E0-E0C2ADDC1E9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09" creationId="{59A4FD28-1EC3-4012-A1B8-5C59F67BDD7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0" creationId="{977F9B27-50B5-421D-81E8-E4A2A0026635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1" creationId="{8A097999-5EF0-4029-8242-F0C0A955697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2" creationId="{B2804EA1-6903-446C-8F0F-2C1EDA14CB7C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3" creationId="{38B7F7DC-025C-46F0-A3ED-4D8815FCF51D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4" creationId="{CEA06CD9-08CE-47CB-B52C-ECD8F873C55E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5" creationId="{9B7C2788-E58E-4735-8A2B-F5AEA8B307F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6" creationId="{F38B0837-0FD1-4E89-B123-13FBA30F3DBC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7" creationId="{699BC25D-7A41-4E81-8601-B1456CF7A055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8" creationId="{C33CEF1E-F301-480C-8749-76AD34EE2706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19" creationId="{B8FD36A2-AD3C-4216-8D61-376C1AF0884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0" creationId="{7A925608-1546-47AD-AC71-F506559473E8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1" creationId="{4EFE10FD-A747-4106-A4C7-A5A417AA1DB4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2" creationId="{DE74E351-9D3E-4CAF-B581-9B5EB3F4E59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3" creationId="{917A9DFD-DE41-469B-88AD-7A72576CF8A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4" creationId="{792256DD-DCA3-4B95-BA7B-4F3E80A673DB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5" creationId="{79E7E5F2-E019-4B63-BBE5-F9A9521EDC4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6" creationId="{A90FC7F9-2A5A-4E6B-8059-A101FC74464F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7" creationId="{EFA07E0F-32D4-44A2-B053-D5E640AFFDF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8" creationId="{AF2AEE1A-EC56-41A2-8244-3E87BF6858F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29" creationId="{FEFCF7B2-7188-49D8-9263-D947CA4895FD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30" creationId="{6DFE8CC8-E23F-4ECA-9A37-E84A14AFB1B2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31" creationId="{6CC11A62-BC45-4093-9A01-91E08D6D1A2A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32" creationId="{AF976999-AA34-44B8-B820-157C64FABDF0}"/>
          </ac:spMkLst>
        </pc:spChg>
        <pc:spChg chg="add mod">
          <ac:chgData name="Barua, Anurag" userId="cabda745-45a9-4fb7-955c-303f4ee68d0d" providerId="ADAL" clId="{9E3431C5-080D-45C4-B614-F140F85BD45E}" dt="2023-01-29T18:12:35.904" v="139"/>
          <ac:spMkLst>
            <pc:docMk/>
            <pc:sldMk cId="2023945749" sldId="2147471394"/>
            <ac:spMk id="133" creationId="{5F9EC90A-2D57-4D71-A13A-56A3AC8C28C9}"/>
          </ac:spMkLst>
        </pc:spChg>
        <pc:grpChg chg="add mod">
          <ac:chgData name="Barua, Anurag" userId="cabda745-45a9-4fb7-955c-303f4ee68d0d" providerId="ADAL" clId="{9E3431C5-080D-45C4-B614-F140F85BD45E}" dt="2023-01-29T18:12:35.904" v="139"/>
          <ac:grpSpMkLst>
            <pc:docMk/>
            <pc:sldMk cId="2023945749" sldId="2147471394"/>
            <ac:grpSpMk id="38" creationId="{80AB9233-2F96-44BB-85E7-D58B52DEF321}"/>
          </ac:grpSpMkLst>
        </pc:grpChg>
        <pc:graphicFrameChg chg="add mod">
          <ac:chgData name="Barua, Anurag" userId="cabda745-45a9-4fb7-955c-303f4ee68d0d" providerId="ADAL" clId="{9E3431C5-080D-45C4-B614-F140F85BD45E}" dt="2023-01-29T18:12:35.904" v="139"/>
          <ac:graphicFrameMkLst>
            <pc:docMk/>
            <pc:sldMk cId="2023945749" sldId="2147471394"/>
            <ac:graphicFrameMk id="20" creationId="{AF729C96-0597-48D9-88CB-151EBCF89D2C}"/>
          </ac:graphicFrameMkLst>
        </pc:graphicFrameChg>
        <pc:picChg chg="del">
          <ac:chgData name="Barua, Anurag" userId="cabda745-45a9-4fb7-955c-303f4ee68d0d" providerId="ADAL" clId="{9E3431C5-080D-45C4-B614-F140F85BD45E}" dt="2023-01-29T18:12:15.064" v="137" actId="478"/>
          <ac:picMkLst>
            <pc:docMk/>
            <pc:sldMk cId="2023945749" sldId="2147471394"/>
            <ac:picMk id="9" creationId="{7AF2F68B-851C-43E6-BAC8-9E7EC167C78E}"/>
          </ac:picMkLst>
        </pc:pic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23" creationId="{82AAC094-D2B5-49D2-B608-DC821AA98D73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29" creationId="{028BC4D8-2980-44E9-B0D8-BDB845E4B3B8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0" creationId="{4285BE28-22D2-4398-A3A1-47FA8CBC7998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1" creationId="{0E7EFAF3-0EC3-453A-89A7-3AE7A9CEBEB6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2" creationId="{5088A530-D251-4DFC-BEBC-3CF42D0F6E19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3" creationId="{45F1AC27-278F-491E-B6E4-8A06E9B0CAF8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4" creationId="{121CB04F-1707-4528-8033-DB8B80E56778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5" creationId="{CF55C557-3DFC-463C-BC2F-6FB6AD27BC5F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6" creationId="{4596159E-54F3-4BCE-9A84-E6A1A8116E54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37" creationId="{D70893E0-A1CA-4806-9906-39D23B1AFD91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52" creationId="{F1597BD4-6477-4B38-A2C2-5068D8D3C17C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0" creationId="{3F48CB95-3DEC-46A6-B251-8057F63D9C0F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1" creationId="{80A2C837-49A3-464E-841C-4B618E13C09E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2" creationId="{B7D712DC-D684-464C-8B84-1F60B856BC44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3" creationId="{F2AE1B84-EB80-4B0F-8223-8D67C121611C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5" creationId="{D0F61C9A-114B-493E-916E-FA3357193E4F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78" creationId="{0FF35361-BE3C-4F8F-B5AA-0FF333E06987}"/>
          </ac:cxnSpMkLst>
        </pc:cxnChg>
        <pc:cxnChg chg="add mod">
          <ac:chgData name="Barua, Anurag" userId="cabda745-45a9-4fb7-955c-303f4ee68d0d" providerId="ADAL" clId="{9E3431C5-080D-45C4-B614-F140F85BD45E}" dt="2023-01-29T18:12:35.904" v="139"/>
          <ac:cxnSpMkLst>
            <pc:docMk/>
            <pc:sldMk cId="2023945749" sldId="2147471394"/>
            <ac:cxnSpMk id="88" creationId="{BC25A416-B531-4568-AFF1-B53DA359C836}"/>
          </ac:cxnSpMkLst>
        </pc:cxnChg>
      </pc:sldChg>
      <pc:sldChg chg="delSp modSp add mod modTransition">
        <pc:chgData name="Barua, Anurag" userId="cabda745-45a9-4fb7-955c-303f4ee68d0d" providerId="ADAL" clId="{9E3431C5-080D-45C4-B614-F140F85BD45E}" dt="2023-01-29T18:17:37.228" v="168" actId="20577"/>
        <pc:sldMkLst>
          <pc:docMk/>
          <pc:sldMk cId="240076960" sldId="2147479290"/>
        </pc:sldMkLst>
        <pc:spChg chg="mod">
          <ac:chgData name="Barua, Anurag" userId="cabda745-45a9-4fb7-955c-303f4ee68d0d" providerId="ADAL" clId="{9E3431C5-080D-45C4-B614-F140F85BD45E}" dt="2023-01-29T18:17:37.228" v="168" actId="20577"/>
          <ac:spMkLst>
            <pc:docMk/>
            <pc:sldMk cId="240076960" sldId="2147479290"/>
            <ac:spMk id="4" creationId="{8595716B-4775-4C1B-B03B-3E1D32C6B948}"/>
          </ac:spMkLst>
        </pc:spChg>
        <pc:spChg chg="del mod">
          <ac:chgData name="Barua, Anurag" userId="cabda745-45a9-4fb7-955c-303f4ee68d0d" providerId="ADAL" clId="{9E3431C5-080D-45C4-B614-F140F85BD45E}" dt="2023-01-29T18:16:04.639" v="144" actId="478"/>
          <ac:spMkLst>
            <pc:docMk/>
            <pc:sldMk cId="240076960" sldId="2147479290"/>
            <ac:spMk id="7" creationId="{73C1741B-AB80-4B85-AEC9-86227239B0C5}"/>
          </ac:spMkLst>
        </pc:spChg>
        <pc:spChg chg="mod">
          <ac:chgData name="Barua, Anurag" userId="cabda745-45a9-4fb7-955c-303f4ee68d0d" providerId="ADAL" clId="{9E3431C5-080D-45C4-B614-F140F85BD45E}" dt="2023-01-29T18:17:07.359" v="154" actId="122"/>
          <ac:spMkLst>
            <pc:docMk/>
            <pc:sldMk cId="240076960" sldId="2147479290"/>
            <ac:spMk id="9" creationId="{9768B36B-5430-61B2-A1D6-A8DD98BB76AA}"/>
          </ac:spMkLst>
        </pc:spChg>
        <pc:picChg chg="mod">
          <ac:chgData name="Barua, Anurag" userId="cabda745-45a9-4fb7-955c-303f4ee68d0d" providerId="ADAL" clId="{9E3431C5-080D-45C4-B614-F140F85BD45E}" dt="2023-01-29T18:16:21.173" v="147" actId="1076"/>
          <ac:picMkLst>
            <pc:docMk/>
            <pc:sldMk cId="240076960" sldId="2147479290"/>
            <ac:picMk id="3" creationId="{08B59E7C-A97F-9633-CA8F-CE621D694637}"/>
          </ac:picMkLst>
        </pc:picChg>
        <pc:picChg chg="del">
          <ac:chgData name="Barua, Anurag" userId="cabda745-45a9-4fb7-955c-303f4ee68d0d" providerId="ADAL" clId="{9E3431C5-080D-45C4-B614-F140F85BD45E}" dt="2023-01-29T18:15:59.763" v="142" actId="478"/>
          <ac:picMkLst>
            <pc:docMk/>
            <pc:sldMk cId="240076960" sldId="2147479290"/>
            <ac:picMk id="6" creationId="{15D93B7D-E5EB-4DA4-9C1E-3036C7B5CC94}"/>
          </ac:picMkLst>
        </pc:picChg>
      </pc:sldChg>
      <pc:sldMasterChg chg="delSldLayout">
        <pc:chgData name="Barua, Anurag" userId="cabda745-45a9-4fb7-955c-303f4ee68d0d" providerId="ADAL" clId="{9E3431C5-080D-45C4-B614-F140F85BD45E}" dt="2023-02-04T21:31:42.177" v="169" actId="47"/>
        <pc:sldMasterMkLst>
          <pc:docMk/>
          <pc:sldMasterMk cId="3626364333" sldId="2147483675"/>
        </pc:sldMasterMkLst>
        <pc:sldLayoutChg chg="del">
          <pc:chgData name="Barua, Anurag" userId="cabda745-45a9-4fb7-955c-303f4ee68d0d" providerId="ADAL" clId="{9E3431C5-080D-45C4-B614-F140F85BD45E}" dt="2023-02-04T21:31:42.177" v="169" actId="47"/>
          <pc:sldLayoutMkLst>
            <pc:docMk/>
            <pc:sldMasterMk cId="3626364333" sldId="2147483675"/>
            <pc:sldLayoutMk cId="2998147183" sldId="2147483693"/>
          </pc:sldLayoutMkLst>
        </pc:sldLayoutChg>
      </pc:sldMasterChg>
    </pc:docChg>
  </pc:docChgLst>
  <pc:docChgLst>
    <pc:chgData name="Barua, Anurag" userId="cabda745-45a9-4fb7-955c-303f4ee68d0d" providerId="ADAL" clId="{B02D2815-6102-40A8-A1D3-167E97E4B4FE}"/>
    <pc:docChg chg="undo custSel addSld delSld modSld sldOrd">
      <pc:chgData name="Barua, Anurag" userId="cabda745-45a9-4fb7-955c-303f4ee68d0d" providerId="ADAL" clId="{B02D2815-6102-40A8-A1D3-167E97E4B4FE}" dt="2022-12-05T20:51:14.775" v="272" actId="255"/>
      <pc:docMkLst>
        <pc:docMk/>
      </pc:docMkLst>
      <pc:sldChg chg="delSp mod">
        <pc:chgData name="Barua, Anurag" userId="cabda745-45a9-4fb7-955c-303f4ee68d0d" providerId="ADAL" clId="{B02D2815-6102-40A8-A1D3-167E97E4B4FE}" dt="2022-12-05T20:42:07.047" v="145" actId="478"/>
        <pc:sldMkLst>
          <pc:docMk/>
          <pc:sldMk cId="3964247212" sldId="317"/>
        </pc:sldMkLst>
        <pc:spChg chg="del">
          <ac:chgData name="Barua, Anurag" userId="cabda745-45a9-4fb7-955c-303f4ee68d0d" providerId="ADAL" clId="{B02D2815-6102-40A8-A1D3-167E97E4B4FE}" dt="2022-12-05T20:42:07.047" v="145" actId="478"/>
          <ac:spMkLst>
            <pc:docMk/>
            <pc:sldMk cId="3964247212" sldId="317"/>
            <ac:spMk id="2" creationId="{ECE9C504-0C85-D14D-B81B-F7C14518548E}"/>
          </ac:spMkLst>
        </pc:spChg>
      </pc:sldChg>
      <pc:sldChg chg="modSp mod">
        <pc:chgData name="Barua, Anurag" userId="cabda745-45a9-4fb7-955c-303f4ee68d0d" providerId="ADAL" clId="{B02D2815-6102-40A8-A1D3-167E97E4B4FE}" dt="2022-12-05T20:42:47.085" v="149" actId="255"/>
        <pc:sldMkLst>
          <pc:docMk/>
          <pc:sldMk cId="1975203079" sldId="330"/>
        </pc:sldMkLst>
        <pc:spChg chg="mod">
          <ac:chgData name="Barua, Anurag" userId="cabda745-45a9-4fb7-955c-303f4ee68d0d" providerId="ADAL" clId="{B02D2815-6102-40A8-A1D3-167E97E4B4FE}" dt="2022-12-05T20:42:47.085" v="149" actId="255"/>
          <ac:spMkLst>
            <pc:docMk/>
            <pc:sldMk cId="1975203079" sldId="330"/>
            <ac:spMk id="2" creationId="{01B35BDA-13ED-8A4F-A464-7D7BA3513430}"/>
          </ac:spMkLst>
        </pc:spChg>
        <pc:spChg chg="mod">
          <ac:chgData name="Barua, Anurag" userId="cabda745-45a9-4fb7-955c-303f4ee68d0d" providerId="ADAL" clId="{B02D2815-6102-40A8-A1D3-167E97E4B4FE}" dt="2022-12-05T20:39:50.329" v="134" actId="20577"/>
          <ac:spMkLst>
            <pc:docMk/>
            <pc:sldMk cId="1975203079" sldId="330"/>
            <ac:spMk id="7" creationId="{45FAFAAC-C329-3545-92FF-AD34DB084B28}"/>
          </ac:spMkLst>
        </pc:spChg>
      </pc:sldChg>
      <pc:sldChg chg="del">
        <pc:chgData name="Barua, Anurag" userId="cabda745-45a9-4fb7-955c-303f4ee68d0d" providerId="ADAL" clId="{B02D2815-6102-40A8-A1D3-167E97E4B4FE}" dt="2022-12-05T20:42:17.869" v="146" actId="47"/>
        <pc:sldMkLst>
          <pc:docMk/>
          <pc:sldMk cId="1013519406" sldId="334"/>
        </pc:sldMkLst>
      </pc:sldChg>
      <pc:sldChg chg="modSp mod">
        <pc:chgData name="Barua, Anurag" userId="cabda745-45a9-4fb7-955c-303f4ee68d0d" providerId="ADAL" clId="{B02D2815-6102-40A8-A1D3-167E97E4B4FE}" dt="2022-12-05T20:42:34.808" v="147" actId="255"/>
        <pc:sldMkLst>
          <pc:docMk/>
          <pc:sldMk cId="2057071755" sldId="475"/>
        </pc:sldMkLst>
        <pc:spChg chg="mod">
          <ac:chgData name="Barua, Anurag" userId="cabda745-45a9-4fb7-955c-303f4ee68d0d" providerId="ADAL" clId="{B02D2815-6102-40A8-A1D3-167E97E4B4FE}" dt="2022-12-05T20:42:34.808" v="147" actId="255"/>
          <ac:spMkLst>
            <pc:docMk/>
            <pc:sldMk cId="2057071755" sldId="475"/>
            <ac:spMk id="24" creationId="{00000000-0000-0000-0000-000000000000}"/>
          </ac:spMkLst>
        </pc:spChg>
      </pc:sldChg>
      <pc:sldChg chg="addSp delSp modSp mod">
        <pc:chgData name="Barua, Anurag" userId="cabda745-45a9-4fb7-955c-303f4ee68d0d" providerId="ADAL" clId="{B02D2815-6102-40A8-A1D3-167E97E4B4FE}" dt="2022-12-05T20:48:07.723" v="215" actId="20577"/>
        <pc:sldMkLst>
          <pc:docMk/>
          <pc:sldMk cId="2633447614" sldId="500"/>
        </pc:sldMkLst>
        <pc:spChg chg="mod">
          <ac:chgData name="Barua, Anurag" userId="cabda745-45a9-4fb7-955c-303f4ee68d0d" providerId="ADAL" clId="{B02D2815-6102-40A8-A1D3-167E97E4B4FE}" dt="2022-12-05T20:46:50.556" v="207" actId="255"/>
          <ac:spMkLst>
            <pc:docMk/>
            <pc:sldMk cId="2633447614" sldId="500"/>
            <ac:spMk id="2" creationId="{00000000-0000-0000-0000-000000000000}"/>
          </ac:spMkLst>
        </pc:spChg>
        <pc:spChg chg="del mod">
          <ac:chgData name="Barua, Anurag" userId="cabda745-45a9-4fb7-955c-303f4ee68d0d" providerId="ADAL" clId="{B02D2815-6102-40A8-A1D3-167E97E4B4FE}" dt="2022-12-05T20:47:14.285" v="210" actId="478"/>
          <ac:spMkLst>
            <pc:docMk/>
            <pc:sldMk cId="2633447614" sldId="500"/>
            <ac:spMk id="4" creationId="{0EDB1D80-8273-4AFF-88C4-BF593F3E8751}"/>
          </ac:spMkLst>
        </pc:spChg>
        <pc:spChg chg="mod">
          <ac:chgData name="Barua, Anurag" userId="cabda745-45a9-4fb7-955c-303f4ee68d0d" providerId="ADAL" clId="{B02D2815-6102-40A8-A1D3-167E97E4B4FE}" dt="2022-12-05T20:48:07.723" v="215" actId="20577"/>
          <ac:spMkLst>
            <pc:docMk/>
            <pc:sldMk cId="2633447614" sldId="500"/>
            <ac:spMk id="5" creationId="{00000000-0000-0000-0000-000000000000}"/>
          </ac:spMkLst>
        </pc:spChg>
        <pc:spChg chg="add mod">
          <ac:chgData name="Barua, Anurag" userId="cabda745-45a9-4fb7-955c-303f4ee68d0d" providerId="ADAL" clId="{B02D2815-6102-40A8-A1D3-167E97E4B4FE}" dt="2022-12-05T20:48:02.293" v="214" actId="1582"/>
          <ac:spMkLst>
            <pc:docMk/>
            <pc:sldMk cId="2633447614" sldId="500"/>
            <ac:spMk id="8" creationId="{66A6A0A4-4CE2-4017-AA5F-256FFE917481}"/>
          </ac:spMkLst>
        </pc:spChg>
      </pc:sldChg>
      <pc:sldChg chg="modSp del mod">
        <pc:chgData name="Barua, Anurag" userId="cabda745-45a9-4fb7-955c-303f4ee68d0d" providerId="ADAL" clId="{B02D2815-6102-40A8-A1D3-167E97E4B4FE}" dt="2022-12-05T20:48:24.642" v="217" actId="47"/>
        <pc:sldMkLst>
          <pc:docMk/>
          <pc:sldMk cId="3209247839" sldId="501"/>
        </pc:sldMkLst>
        <pc:spChg chg="mod">
          <ac:chgData name="Barua, Anurag" userId="cabda745-45a9-4fb7-955c-303f4ee68d0d" providerId="ADAL" clId="{B02D2815-6102-40A8-A1D3-167E97E4B4FE}" dt="2022-12-05T20:48:21.577" v="216" actId="255"/>
          <ac:spMkLst>
            <pc:docMk/>
            <pc:sldMk cId="3209247839" sldId="501"/>
            <ac:spMk id="2" creationId="{00000000-0000-0000-0000-000000000000}"/>
          </ac:spMkLst>
        </pc:spChg>
      </pc:sldChg>
      <pc:sldChg chg="modSp mod ord">
        <pc:chgData name="Barua, Anurag" userId="cabda745-45a9-4fb7-955c-303f4ee68d0d" providerId="ADAL" clId="{B02D2815-6102-40A8-A1D3-167E97E4B4FE}" dt="2022-12-05T20:49:35.021" v="267" actId="20577"/>
        <pc:sldMkLst>
          <pc:docMk/>
          <pc:sldMk cId="173879391" sldId="2376"/>
        </pc:sldMkLst>
        <pc:spChg chg="mod">
          <ac:chgData name="Barua, Anurag" userId="cabda745-45a9-4fb7-955c-303f4ee68d0d" providerId="ADAL" clId="{B02D2815-6102-40A8-A1D3-167E97E4B4FE}" dt="2022-12-05T20:49:35.021" v="267" actId="20577"/>
          <ac:spMkLst>
            <pc:docMk/>
            <pc:sldMk cId="173879391" sldId="2376"/>
            <ac:spMk id="30" creationId="{363541FF-E2B0-49D6-8D81-28843C1FB1D5}"/>
          </ac:spMkLst>
        </pc:spChg>
      </pc:sldChg>
      <pc:sldChg chg="modSp mod">
        <pc:chgData name="Barua, Anurag" userId="cabda745-45a9-4fb7-955c-303f4ee68d0d" providerId="ADAL" clId="{B02D2815-6102-40A8-A1D3-167E97E4B4FE}" dt="2022-12-05T20:43:00.606" v="150" actId="108"/>
        <pc:sldMkLst>
          <pc:docMk/>
          <pc:sldMk cId="1179887087" sldId="2142532750"/>
        </pc:sldMkLst>
        <pc:spChg chg="mod">
          <ac:chgData name="Barua, Anurag" userId="cabda745-45a9-4fb7-955c-303f4ee68d0d" providerId="ADAL" clId="{B02D2815-6102-40A8-A1D3-167E97E4B4FE}" dt="2022-12-05T20:43:00.606" v="150" actId="108"/>
          <ac:spMkLst>
            <pc:docMk/>
            <pc:sldMk cId="1179887087" sldId="2142532750"/>
            <ac:spMk id="63" creationId="{31FA2A5D-DA54-4EE5-992D-41823FBDDF54}"/>
          </ac:spMkLst>
        </pc:spChg>
      </pc:sldChg>
      <pc:sldChg chg="modSp add mod modNotesTx">
        <pc:chgData name="Barua, Anurag" userId="cabda745-45a9-4fb7-955c-303f4ee68d0d" providerId="ADAL" clId="{B02D2815-6102-40A8-A1D3-167E97E4B4FE}" dt="2022-12-05T20:45:56.509" v="167" actId="6549"/>
        <pc:sldMkLst>
          <pc:docMk/>
          <pc:sldMk cId="662726192" sldId="2146847580"/>
        </pc:sldMkLst>
        <pc:spChg chg="mod">
          <ac:chgData name="Barua, Anurag" userId="cabda745-45a9-4fb7-955c-303f4ee68d0d" providerId="ADAL" clId="{B02D2815-6102-40A8-A1D3-167E97E4B4FE}" dt="2022-12-05T20:45:50.776" v="166" actId="255"/>
          <ac:spMkLst>
            <pc:docMk/>
            <pc:sldMk cId="662726192" sldId="2146847580"/>
            <ac:spMk id="2" creationId="{0390F71D-712A-42C4-900A-059C0BD87DA2}"/>
          </ac:spMkLst>
        </pc:spChg>
        <pc:spChg chg="mod">
          <ac:chgData name="Barua, Anurag" userId="cabda745-45a9-4fb7-955c-303f4ee68d0d" providerId="ADAL" clId="{B02D2815-6102-40A8-A1D3-167E97E4B4FE}" dt="2022-12-05T20:38:04.747" v="76" actId="1076"/>
          <ac:spMkLst>
            <pc:docMk/>
            <pc:sldMk cId="662726192" sldId="2146847580"/>
            <ac:spMk id="14" creationId="{937368CA-2B7B-4711-9339-AA44FD009AE0}"/>
          </ac:spMkLst>
        </pc:spChg>
        <pc:spChg chg="mod">
          <ac:chgData name="Barua, Anurag" userId="cabda745-45a9-4fb7-955c-303f4ee68d0d" providerId="ADAL" clId="{B02D2815-6102-40A8-A1D3-167E97E4B4FE}" dt="2022-12-05T20:38:14.312" v="77" actId="1076"/>
          <ac:spMkLst>
            <pc:docMk/>
            <pc:sldMk cId="662726192" sldId="2146847580"/>
            <ac:spMk id="15" creationId="{FE6313A0-45C1-4227-9ED6-7C392710F66E}"/>
          </ac:spMkLst>
        </pc:spChg>
      </pc:sldChg>
      <pc:sldChg chg="modSp mod">
        <pc:chgData name="Barua, Anurag" userId="cabda745-45a9-4fb7-955c-303f4ee68d0d" providerId="ADAL" clId="{B02D2815-6102-40A8-A1D3-167E97E4B4FE}" dt="2022-12-05T20:44:12.449" v="157" actId="108"/>
        <pc:sldMkLst>
          <pc:docMk/>
          <pc:sldMk cId="212697879" sldId="2146847769"/>
        </pc:sldMkLst>
        <pc:spChg chg="mod">
          <ac:chgData name="Barua, Anurag" userId="cabda745-45a9-4fb7-955c-303f4ee68d0d" providerId="ADAL" clId="{B02D2815-6102-40A8-A1D3-167E97E4B4FE}" dt="2022-12-05T20:44:12.449" v="157" actId="108"/>
          <ac:spMkLst>
            <pc:docMk/>
            <pc:sldMk cId="212697879" sldId="2146847769"/>
            <ac:spMk id="3" creationId="{00000000-0000-0000-0000-000000000000}"/>
          </ac:spMkLst>
        </pc:spChg>
      </pc:sldChg>
      <pc:sldChg chg="modSp mod">
        <pc:chgData name="Barua, Anurag" userId="cabda745-45a9-4fb7-955c-303f4ee68d0d" providerId="ADAL" clId="{B02D2815-6102-40A8-A1D3-167E97E4B4FE}" dt="2022-12-05T20:49:23.503" v="238" actId="20577"/>
        <pc:sldMkLst>
          <pc:docMk/>
          <pc:sldMk cId="2133764371" sldId="2147308921"/>
        </pc:sldMkLst>
        <pc:spChg chg="mod">
          <ac:chgData name="Barua, Anurag" userId="cabda745-45a9-4fb7-955c-303f4ee68d0d" providerId="ADAL" clId="{B02D2815-6102-40A8-A1D3-167E97E4B4FE}" dt="2022-12-05T20:49:23.503" v="238" actId="20577"/>
          <ac:spMkLst>
            <pc:docMk/>
            <pc:sldMk cId="2133764371" sldId="2147308921"/>
            <ac:spMk id="2" creationId="{584E9DDD-CD80-49E1-B6A4-7F90D217195D}"/>
          </ac:spMkLst>
        </pc:spChg>
      </pc:sldChg>
      <pc:sldChg chg="modSp add del mod">
        <pc:chgData name="Barua, Anurag" userId="cabda745-45a9-4fb7-955c-303f4ee68d0d" providerId="ADAL" clId="{B02D2815-6102-40A8-A1D3-167E97E4B4FE}" dt="2022-12-05T20:35:59.021" v="74"/>
        <pc:sldMkLst>
          <pc:docMk/>
          <pc:sldMk cId="2751334645" sldId="2147373914"/>
        </pc:sldMkLst>
        <pc:spChg chg="mod">
          <ac:chgData name="Barua, Anurag" userId="cabda745-45a9-4fb7-955c-303f4ee68d0d" providerId="ADAL" clId="{B02D2815-6102-40A8-A1D3-167E97E4B4FE}" dt="2022-12-05T20:35:56.639" v="73" actId="1076"/>
          <ac:spMkLst>
            <pc:docMk/>
            <pc:sldMk cId="2751334645" sldId="2147373914"/>
            <ac:spMk id="47" creationId="{5CA0B7A2-3004-EB45-BBEC-5D46BA1420A3}"/>
          </ac:spMkLst>
        </pc:spChg>
      </pc:sldChg>
      <pc:sldChg chg="modSp mod">
        <pc:chgData name="Barua, Anurag" userId="cabda745-45a9-4fb7-955c-303f4ee68d0d" providerId="ADAL" clId="{B02D2815-6102-40A8-A1D3-167E97E4B4FE}" dt="2022-12-05T20:50:27.861" v="270" actId="108"/>
        <pc:sldMkLst>
          <pc:docMk/>
          <pc:sldMk cId="1822668706" sldId="2147374435"/>
        </pc:sldMkLst>
        <pc:spChg chg="mod">
          <ac:chgData name="Barua, Anurag" userId="cabda745-45a9-4fb7-955c-303f4ee68d0d" providerId="ADAL" clId="{B02D2815-6102-40A8-A1D3-167E97E4B4FE}" dt="2022-12-05T20:46:20.393" v="204" actId="20577"/>
          <ac:spMkLst>
            <pc:docMk/>
            <pc:sldMk cId="1822668706" sldId="2147374435"/>
            <ac:spMk id="2" creationId="{6C2236CA-22DC-416B-9967-F62AF4FAC629}"/>
          </ac:spMkLst>
        </pc:spChg>
        <pc:spChg chg="mod">
          <ac:chgData name="Barua, Anurag" userId="cabda745-45a9-4fb7-955c-303f4ee68d0d" providerId="ADAL" clId="{B02D2815-6102-40A8-A1D3-167E97E4B4FE}" dt="2022-12-05T20:50:27.861" v="270" actId="108"/>
          <ac:spMkLst>
            <pc:docMk/>
            <pc:sldMk cId="1822668706" sldId="2147374435"/>
            <ac:spMk id="31" creationId="{265A64A0-3D81-41A2-83E0-F27E936E7D29}"/>
          </ac:spMkLst>
        </pc:spChg>
        <pc:spChg chg="mod">
          <ac:chgData name="Barua, Anurag" userId="cabda745-45a9-4fb7-955c-303f4ee68d0d" providerId="ADAL" clId="{B02D2815-6102-40A8-A1D3-167E97E4B4FE}" dt="2022-12-05T20:50:09.366" v="269" actId="207"/>
          <ac:spMkLst>
            <pc:docMk/>
            <pc:sldMk cId="1822668706" sldId="2147374435"/>
            <ac:spMk id="32" creationId="{0056F24A-733D-4196-81B9-E9895B1641B4}"/>
          </ac:spMkLst>
        </pc:spChg>
      </pc:sldChg>
      <pc:sldChg chg="modSp mod">
        <pc:chgData name="Barua, Anurag" userId="cabda745-45a9-4fb7-955c-303f4ee68d0d" providerId="ADAL" clId="{B02D2815-6102-40A8-A1D3-167E97E4B4FE}" dt="2022-12-05T20:45:23.149" v="164" actId="255"/>
        <pc:sldMkLst>
          <pc:docMk/>
          <pc:sldMk cId="1633805272" sldId="2147376184"/>
        </pc:sldMkLst>
        <pc:spChg chg="mod">
          <ac:chgData name="Barua, Anurag" userId="cabda745-45a9-4fb7-955c-303f4ee68d0d" providerId="ADAL" clId="{B02D2815-6102-40A8-A1D3-167E97E4B4FE}" dt="2022-12-05T20:45:23.149" v="164" actId="255"/>
          <ac:spMkLst>
            <pc:docMk/>
            <pc:sldMk cId="1633805272" sldId="2147376184"/>
            <ac:spMk id="35" creationId="{F0E4E5E2-2346-4F42-B19E-CDDD17E3715E}"/>
          </ac:spMkLst>
        </pc:spChg>
      </pc:sldChg>
      <pc:sldChg chg="modSp mod">
        <pc:chgData name="Barua, Anurag" userId="cabda745-45a9-4fb7-955c-303f4ee68d0d" providerId="ADAL" clId="{B02D2815-6102-40A8-A1D3-167E97E4B4FE}" dt="2022-12-05T20:45:35.065" v="165" actId="255"/>
        <pc:sldMkLst>
          <pc:docMk/>
          <pc:sldMk cId="2078485950" sldId="2147376185"/>
        </pc:sldMkLst>
        <pc:spChg chg="mod">
          <ac:chgData name="Barua, Anurag" userId="cabda745-45a9-4fb7-955c-303f4ee68d0d" providerId="ADAL" clId="{B02D2815-6102-40A8-A1D3-167E97E4B4FE}" dt="2022-12-05T20:45:35.065" v="165" actId="255"/>
          <ac:spMkLst>
            <pc:docMk/>
            <pc:sldMk cId="2078485950" sldId="2147376185"/>
            <ac:spMk id="31" creationId="{5A220824-1A21-4968-8827-0006C3864B8E}"/>
          </ac:spMkLst>
        </pc:spChg>
      </pc:sldChg>
      <pc:sldChg chg="modSp mod">
        <pc:chgData name="Barua, Anurag" userId="cabda745-45a9-4fb7-955c-303f4ee68d0d" providerId="ADAL" clId="{B02D2815-6102-40A8-A1D3-167E97E4B4FE}" dt="2022-12-05T20:51:14.775" v="272" actId="255"/>
        <pc:sldMkLst>
          <pc:docMk/>
          <pc:sldMk cId="577344995" sldId="2147376263"/>
        </pc:sldMkLst>
        <pc:spChg chg="mod">
          <ac:chgData name="Barua, Anurag" userId="cabda745-45a9-4fb7-955c-303f4ee68d0d" providerId="ADAL" clId="{B02D2815-6102-40A8-A1D3-167E97E4B4FE}" dt="2022-12-05T20:51:14.775" v="272" actId="255"/>
          <ac:spMkLst>
            <pc:docMk/>
            <pc:sldMk cId="577344995" sldId="2147376263"/>
            <ac:spMk id="18" creationId="{75D2F13B-EBDB-4C1D-819C-A5BE34C04321}"/>
          </ac:spMkLst>
        </pc:spChg>
        <pc:spChg chg="mod">
          <ac:chgData name="Barua, Anurag" userId="cabda745-45a9-4fb7-955c-303f4ee68d0d" providerId="ADAL" clId="{B02D2815-6102-40A8-A1D3-167E97E4B4FE}" dt="2022-12-05T20:48:42.534" v="218" actId="108"/>
          <ac:spMkLst>
            <pc:docMk/>
            <pc:sldMk cId="577344995" sldId="2147376263"/>
            <ac:spMk id="56" creationId="{9E4E507E-D14B-43E4-944D-2C05B74D0874}"/>
          </ac:spMkLst>
        </pc:spChg>
      </pc:sldChg>
      <pc:sldChg chg="modSp mod">
        <pc:chgData name="Barua, Anurag" userId="cabda745-45a9-4fb7-955c-303f4ee68d0d" providerId="ADAL" clId="{B02D2815-6102-40A8-A1D3-167E97E4B4FE}" dt="2022-12-05T20:43:25.283" v="153" actId="108"/>
        <pc:sldMkLst>
          <pc:docMk/>
          <pc:sldMk cId="1450814610" sldId="2147376458"/>
        </pc:sldMkLst>
        <pc:spChg chg="mod">
          <ac:chgData name="Barua, Anurag" userId="cabda745-45a9-4fb7-955c-303f4ee68d0d" providerId="ADAL" clId="{B02D2815-6102-40A8-A1D3-167E97E4B4FE}" dt="2022-12-05T20:43:25.283" v="153" actId="108"/>
          <ac:spMkLst>
            <pc:docMk/>
            <pc:sldMk cId="1450814610" sldId="2147376458"/>
            <ac:spMk id="32" creationId="{DAD589A2-FB7A-4696-8080-2796C6216E58}"/>
          </ac:spMkLst>
        </pc:spChg>
      </pc:sldChg>
      <pc:sldChg chg="modSp mod">
        <pc:chgData name="Barua, Anurag" userId="cabda745-45a9-4fb7-955c-303f4ee68d0d" providerId="ADAL" clId="{B02D2815-6102-40A8-A1D3-167E97E4B4FE}" dt="2022-12-05T20:43:35.424" v="154" actId="108"/>
        <pc:sldMkLst>
          <pc:docMk/>
          <pc:sldMk cId="3075689732" sldId="2147376459"/>
        </pc:sldMkLst>
        <pc:spChg chg="mod">
          <ac:chgData name="Barua, Anurag" userId="cabda745-45a9-4fb7-955c-303f4ee68d0d" providerId="ADAL" clId="{B02D2815-6102-40A8-A1D3-167E97E4B4FE}" dt="2022-12-05T20:43:35.424" v="154" actId="108"/>
          <ac:spMkLst>
            <pc:docMk/>
            <pc:sldMk cId="3075689732" sldId="2147376459"/>
            <ac:spMk id="32" creationId="{DAD589A2-FB7A-4696-8080-2796C6216E58}"/>
          </ac:spMkLst>
        </pc:spChg>
      </pc:sldChg>
      <pc:sldChg chg="modSp del mod">
        <pc:chgData name="Barua, Anurag" userId="cabda745-45a9-4fb7-955c-303f4ee68d0d" providerId="ADAL" clId="{B02D2815-6102-40A8-A1D3-167E97E4B4FE}" dt="2022-12-05T20:49:03.554" v="219" actId="2696"/>
        <pc:sldMkLst>
          <pc:docMk/>
          <pc:sldMk cId="1046809480" sldId="2147471390"/>
        </pc:sldMkLst>
        <pc:spChg chg="mod">
          <ac:chgData name="Barua, Anurag" userId="cabda745-45a9-4fb7-955c-303f4ee68d0d" providerId="ADAL" clId="{B02D2815-6102-40A8-A1D3-167E97E4B4FE}" dt="2022-12-05T20:43:58.670" v="156" actId="108"/>
          <ac:spMkLst>
            <pc:docMk/>
            <pc:sldMk cId="1046809480" sldId="2147471390"/>
            <ac:spMk id="3" creationId="{0E3B254C-C523-4726-BA15-A87474572E8F}"/>
          </ac:spMkLst>
        </pc:spChg>
      </pc:sldChg>
      <pc:sldChg chg="add">
        <pc:chgData name="Barua, Anurag" userId="cabda745-45a9-4fb7-955c-303f4ee68d0d" providerId="ADAL" clId="{B02D2815-6102-40A8-A1D3-167E97E4B4FE}" dt="2022-12-05T20:49:07.602" v="220"/>
        <pc:sldMkLst>
          <pc:docMk/>
          <pc:sldMk cId="3286268162" sldId="2147471390"/>
        </pc:sldMkLst>
      </pc:sldChg>
      <pc:sldChg chg="addSp modSp add mod">
        <pc:chgData name="Barua, Anurag" userId="cabda745-45a9-4fb7-955c-303f4ee68d0d" providerId="ADAL" clId="{B02D2815-6102-40A8-A1D3-167E97E4B4FE}" dt="2022-12-05T20:43:13.620" v="152" actId="1076"/>
        <pc:sldMkLst>
          <pc:docMk/>
          <pc:sldMk cId="2503657621" sldId="2147471391"/>
        </pc:sldMkLst>
        <pc:spChg chg="mod">
          <ac:chgData name="Barua, Anurag" userId="cabda745-45a9-4fb7-955c-303f4ee68d0d" providerId="ADAL" clId="{B02D2815-6102-40A8-A1D3-167E97E4B4FE}" dt="2022-12-05T20:43:13.620" v="152" actId="1076"/>
          <ac:spMkLst>
            <pc:docMk/>
            <pc:sldMk cId="2503657621" sldId="2147471391"/>
            <ac:spMk id="2" creationId="{01B35BDA-13ED-8A4F-A464-7D7BA3513430}"/>
          </ac:spMkLst>
        </pc:spChg>
        <pc:spChg chg="add mod">
          <ac:chgData name="Barua, Anurag" userId="cabda745-45a9-4fb7-955c-303f4ee68d0d" providerId="ADAL" clId="{B02D2815-6102-40A8-A1D3-167E97E4B4FE}" dt="2022-12-05T20:41:19.713" v="140" actId="1582"/>
          <ac:spMkLst>
            <pc:docMk/>
            <pc:sldMk cId="2503657621" sldId="2147471391"/>
            <ac:spMk id="3" creationId="{A00DC707-61C6-4300-B22D-00239ACE4B3E}"/>
          </ac:spMkLst>
        </pc:spChg>
      </pc:sldChg>
      <pc:sldChg chg="modSp add mod">
        <pc:chgData name="Barua, Anurag" userId="cabda745-45a9-4fb7-955c-303f4ee68d0d" providerId="ADAL" clId="{B02D2815-6102-40A8-A1D3-167E97E4B4FE}" dt="2022-12-05T20:44:36.713" v="160" actId="255"/>
        <pc:sldMkLst>
          <pc:docMk/>
          <pc:sldMk cId="1933527361" sldId="2147471392"/>
        </pc:sldMkLst>
        <pc:spChg chg="mod">
          <ac:chgData name="Barua, Anurag" userId="cabda745-45a9-4fb7-955c-303f4ee68d0d" providerId="ADAL" clId="{B02D2815-6102-40A8-A1D3-167E97E4B4FE}" dt="2022-12-05T20:44:36.713" v="160" actId="255"/>
          <ac:spMkLst>
            <pc:docMk/>
            <pc:sldMk cId="1933527361" sldId="2147471392"/>
            <ac:spMk id="2" creationId="{01B35BDA-13ED-8A4F-A464-7D7BA3513430}"/>
          </ac:spMkLst>
        </pc:spChg>
        <pc:spChg chg="mod">
          <ac:chgData name="Barua, Anurag" userId="cabda745-45a9-4fb7-955c-303f4ee68d0d" providerId="ADAL" clId="{B02D2815-6102-40A8-A1D3-167E97E4B4FE}" dt="2022-12-05T20:41:44.332" v="142" actId="1076"/>
          <ac:spMkLst>
            <pc:docMk/>
            <pc:sldMk cId="1933527361" sldId="2147471392"/>
            <ac:spMk id="3" creationId="{A00DC707-61C6-4300-B22D-00239ACE4B3E}"/>
          </ac:spMkLst>
        </pc:spChg>
      </pc:sldChg>
      <pc:sldChg chg="modSp add mod">
        <pc:chgData name="Barua, Anurag" userId="cabda745-45a9-4fb7-955c-303f4ee68d0d" providerId="ADAL" clId="{B02D2815-6102-40A8-A1D3-167E97E4B4FE}" dt="2022-12-05T20:46:39.846" v="206" actId="255"/>
        <pc:sldMkLst>
          <pc:docMk/>
          <pc:sldMk cId="3425216482" sldId="2147471393"/>
        </pc:sldMkLst>
        <pc:spChg chg="mod">
          <ac:chgData name="Barua, Anurag" userId="cabda745-45a9-4fb7-955c-303f4ee68d0d" providerId="ADAL" clId="{B02D2815-6102-40A8-A1D3-167E97E4B4FE}" dt="2022-12-05T20:46:39.846" v="206" actId="255"/>
          <ac:spMkLst>
            <pc:docMk/>
            <pc:sldMk cId="3425216482" sldId="2147471393"/>
            <ac:spMk id="2" creationId="{01B35BDA-13ED-8A4F-A464-7D7BA3513430}"/>
          </ac:spMkLst>
        </pc:spChg>
        <pc:spChg chg="mod">
          <ac:chgData name="Barua, Anurag" userId="cabda745-45a9-4fb7-955c-303f4ee68d0d" providerId="ADAL" clId="{B02D2815-6102-40A8-A1D3-167E97E4B4FE}" dt="2022-12-05T20:41:56.521" v="144" actId="1076"/>
          <ac:spMkLst>
            <pc:docMk/>
            <pc:sldMk cId="3425216482" sldId="2147471393"/>
            <ac:spMk id="3" creationId="{A00DC707-61C6-4300-B22D-00239ACE4B3E}"/>
          </ac:spMkLst>
        </pc:spChg>
      </pc:sldChg>
      <pc:sldMasterChg chg="delSldLayout">
        <pc:chgData name="Barua, Anurag" userId="cabda745-45a9-4fb7-955c-303f4ee68d0d" providerId="ADAL" clId="{B02D2815-6102-40A8-A1D3-167E97E4B4FE}" dt="2022-12-05T20:49:03.554" v="219" actId="2696"/>
        <pc:sldMasterMkLst>
          <pc:docMk/>
          <pc:sldMasterMk cId="3626364333" sldId="2147483675"/>
        </pc:sldMasterMkLst>
        <pc:sldLayoutChg chg="del">
          <pc:chgData name="Barua, Anurag" userId="cabda745-45a9-4fb7-955c-303f4ee68d0d" providerId="ADAL" clId="{B02D2815-6102-40A8-A1D3-167E97E4B4FE}" dt="2022-12-05T20:49:03.554" v="219" actId="2696"/>
          <pc:sldLayoutMkLst>
            <pc:docMk/>
            <pc:sldMasterMk cId="3626364333" sldId="2147483675"/>
            <pc:sldLayoutMk cId="3060361198" sldId="2147483691"/>
          </pc:sldLayoutMkLst>
        </pc:sldLayoutChg>
      </pc:sldMasterChg>
    </pc:docChg>
  </pc:docChgLst>
  <pc:docChgLst>
    <pc:chgData name="Barua, Anurag" userId="cabda745-45a9-4fb7-955c-303f4ee68d0d" providerId="ADAL" clId="{BC0F8426-C8E7-4AD7-A900-9A7029922E76}"/>
    <pc:docChg chg="undo custSel addSld delSld modSld">
      <pc:chgData name="Barua, Anurag" userId="cabda745-45a9-4fb7-955c-303f4ee68d0d" providerId="ADAL" clId="{BC0F8426-C8E7-4AD7-A900-9A7029922E76}" dt="2023-02-21T22:38:58.299" v="1051" actId="1035"/>
      <pc:docMkLst>
        <pc:docMk/>
      </pc:docMkLst>
      <pc:sldChg chg="modSp mod">
        <pc:chgData name="Barua, Anurag" userId="cabda745-45a9-4fb7-955c-303f4ee68d0d" providerId="ADAL" clId="{BC0F8426-C8E7-4AD7-A900-9A7029922E76}" dt="2023-02-21T22:32:41.567" v="767" actId="2711"/>
        <pc:sldMkLst>
          <pc:docMk/>
          <pc:sldMk cId="2633447614" sldId="500"/>
        </pc:sldMkLst>
        <pc:spChg chg="mod">
          <ac:chgData name="Barua, Anurag" userId="cabda745-45a9-4fb7-955c-303f4ee68d0d" providerId="ADAL" clId="{BC0F8426-C8E7-4AD7-A900-9A7029922E76}" dt="2023-02-21T22:08:07.060" v="738" actId="1076"/>
          <ac:spMkLst>
            <pc:docMk/>
            <pc:sldMk cId="2633447614" sldId="500"/>
            <ac:spMk id="11" creationId="{60DD3AE7-A985-4BB9-9DF3-6C9DD42B4002}"/>
          </ac:spMkLst>
        </pc:spChg>
        <pc:spChg chg="mod">
          <ac:chgData name="Barua, Anurag" userId="cabda745-45a9-4fb7-955c-303f4ee68d0d" providerId="ADAL" clId="{BC0F8426-C8E7-4AD7-A900-9A7029922E76}" dt="2023-02-21T22:31:26.692" v="759" actId="1035"/>
          <ac:spMkLst>
            <pc:docMk/>
            <pc:sldMk cId="2633447614" sldId="500"/>
            <ac:spMk id="13" creationId="{0B9E51BE-B1BF-4809-A3D7-BBDD17A6E125}"/>
          </ac:spMkLst>
        </pc:spChg>
        <pc:spChg chg="mod">
          <ac:chgData name="Barua, Anurag" userId="cabda745-45a9-4fb7-955c-303f4ee68d0d" providerId="ADAL" clId="{BC0F8426-C8E7-4AD7-A900-9A7029922E76}" dt="2023-02-21T22:32:22.293" v="764" actId="2711"/>
          <ac:spMkLst>
            <pc:docMk/>
            <pc:sldMk cId="2633447614" sldId="500"/>
            <ac:spMk id="14" creationId="{5F339558-BC3D-4EB3-B05E-95ABB3B8C41E}"/>
          </ac:spMkLst>
        </pc:spChg>
        <pc:spChg chg="mod">
          <ac:chgData name="Barua, Anurag" userId="cabda745-45a9-4fb7-955c-303f4ee68d0d" providerId="ADAL" clId="{BC0F8426-C8E7-4AD7-A900-9A7029922E76}" dt="2023-02-21T22:32:28.443" v="765" actId="2711"/>
          <ac:spMkLst>
            <pc:docMk/>
            <pc:sldMk cId="2633447614" sldId="500"/>
            <ac:spMk id="15" creationId="{80EEDE0E-45F0-457F-933E-165BCB1C8A63}"/>
          </ac:spMkLst>
        </pc:spChg>
        <pc:spChg chg="mod">
          <ac:chgData name="Barua, Anurag" userId="cabda745-45a9-4fb7-955c-303f4ee68d0d" providerId="ADAL" clId="{BC0F8426-C8E7-4AD7-A900-9A7029922E76}" dt="2023-02-21T22:31:55.870" v="760" actId="2711"/>
          <ac:spMkLst>
            <pc:docMk/>
            <pc:sldMk cId="2633447614" sldId="500"/>
            <ac:spMk id="16" creationId="{F583D4E4-8411-44E5-9E0C-67BAD8F1BAAD}"/>
          </ac:spMkLst>
        </pc:spChg>
        <pc:spChg chg="mod">
          <ac:chgData name="Barua, Anurag" userId="cabda745-45a9-4fb7-955c-303f4ee68d0d" providerId="ADAL" clId="{BC0F8426-C8E7-4AD7-A900-9A7029922E76}" dt="2023-02-21T22:32:15.450" v="763" actId="2711"/>
          <ac:spMkLst>
            <pc:docMk/>
            <pc:sldMk cId="2633447614" sldId="500"/>
            <ac:spMk id="17" creationId="{D6BD66D5-A1F7-44B7-AF29-4A58EDAE1755}"/>
          </ac:spMkLst>
        </pc:spChg>
        <pc:spChg chg="mod">
          <ac:chgData name="Barua, Anurag" userId="cabda745-45a9-4fb7-955c-303f4ee68d0d" providerId="ADAL" clId="{BC0F8426-C8E7-4AD7-A900-9A7029922E76}" dt="2023-02-21T22:32:35.616" v="766" actId="2711"/>
          <ac:spMkLst>
            <pc:docMk/>
            <pc:sldMk cId="2633447614" sldId="500"/>
            <ac:spMk id="18" creationId="{AB1E5A71-CCF1-4D06-B2AD-7BFDFDF124BC}"/>
          </ac:spMkLst>
        </pc:spChg>
        <pc:spChg chg="mod">
          <ac:chgData name="Barua, Anurag" userId="cabda745-45a9-4fb7-955c-303f4ee68d0d" providerId="ADAL" clId="{BC0F8426-C8E7-4AD7-A900-9A7029922E76}" dt="2023-02-21T22:32:41.567" v="767" actId="2711"/>
          <ac:spMkLst>
            <pc:docMk/>
            <pc:sldMk cId="2633447614" sldId="500"/>
            <ac:spMk id="19" creationId="{20C2C559-40E6-4237-8A9A-B52C581735A1}"/>
          </ac:spMkLst>
        </pc:spChg>
        <pc:picChg chg="mod">
          <ac:chgData name="Barua, Anurag" userId="cabda745-45a9-4fb7-955c-303f4ee68d0d" providerId="ADAL" clId="{BC0F8426-C8E7-4AD7-A900-9A7029922E76}" dt="2023-02-21T22:31:26.692" v="759" actId="1035"/>
          <ac:picMkLst>
            <pc:docMk/>
            <pc:sldMk cId="2633447614" sldId="500"/>
            <ac:picMk id="9" creationId="{7AF2F68B-851C-43E6-BAC8-9E7EC167C78E}"/>
          </ac:picMkLst>
        </pc:picChg>
      </pc:sldChg>
      <pc:sldChg chg="modSp mod">
        <pc:chgData name="Barua, Anurag" userId="cabda745-45a9-4fb7-955c-303f4ee68d0d" providerId="ADAL" clId="{BC0F8426-C8E7-4AD7-A900-9A7029922E76}" dt="2023-02-21T22:38:29.342" v="1011" actId="20577"/>
        <pc:sldMkLst>
          <pc:docMk/>
          <pc:sldMk cId="173879391" sldId="2376"/>
        </pc:sldMkLst>
        <pc:spChg chg="mod">
          <ac:chgData name="Barua, Anurag" userId="cabda745-45a9-4fb7-955c-303f4ee68d0d" providerId="ADAL" clId="{BC0F8426-C8E7-4AD7-A900-9A7029922E76}" dt="2023-02-21T21:33:06.973" v="22" actId="1035"/>
          <ac:spMkLst>
            <pc:docMk/>
            <pc:sldMk cId="173879391" sldId="2376"/>
            <ac:spMk id="2" creationId="{491FBC49-70A4-4DC3-9FA7-B9E9AE081DA6}"/>
          </ac:spMkLst>
        </pc:spChg>
        <pc:spChg chg="mod">
          <ac:chgData name="Barua, Anurag" userId="cabda745-45a9-4fb7-955c-303f4ee68d0d" providerId="ADAL" clId="{BC0F8426-C8E7-4AD7-A900-9A7029922E76}" dt="2023-02-21T21:33:06.973" v="22" actId="1035"/>
          <ac:spMkLst>
            <pc:docMk/>
            <pc:sldMk cId="173879391" sldId="2376"/>
            <ac:spMk id="16" creationId="{1731E4AA-6E5F-4769-8A7D-A286368D27BC}"/>
          </ac:spMkLst>
        </pc:spChg>
        <pc:spChg chg="mod">
          <ac:chgData name="Barua, Anurag" userId="cabda745-45a9-4fb7-955c-303f4ee68d0d" providerId="ADAL" clId="{BC0F8426-C8E7-4AD7-A900-9A7029922E76}" dt="2023-02-21T21:33:06.973" v="22" actId="1035"/>
          <ac:spMkLst>
            <pc:docMk/>
            <pc:sldMk cId="173879391" sldId="2376"/>
            <ac:spMk id="18" creationId="{B0C3FD62-4B13-49A3-8087-D2E2CFE02E23}"/>
          </ac:spMkLst>
        </pc:spChg>
        <pc:spChg chg="mod">
          <ac:chgData name="Barua, Anurag" userId="cabda745-45a9-4fb7-955c-303f4ee68d0d" providerId="ADAL" clId="{BC0F8426-C8E7-4AD7-A900-9A7029922E76}" dt="2023-02-21T22:38:29.342" v="1011" actId="20577"/>
          <ac:spMkLst>
            <pc:docMk/>
            <pc:sldMk cId="173879391" sldId="2376"/>
            <ac:spMk id="30" creationId="{363541FF-E2B0-49D6-8D81-28843C1FB1D5}"/>
          </ac:spMkLst>
        </pc:spChg>
        <pc:grpChg chg="mod">
          <ac:chgData name="Barua, Anurag" userId="cabda745-45a9-4fb7-955c-303f4ee68d0d" providerId="ADAL" clId="{BC0F8426-C8E7-4AD7-A900-9A7029922E76}" dt="2023-02-21T21:33:06.973" v="22" actId="1035"/>
          <ac:grpSpMkLst>
            <pc:docMk/>
            <pc:sldMk cId="173879391" sldId="2376"/>
            <ac:grpSpMk id="3" creationId="{0C576893-EF30-48CF-88DF-23AD87C42A53}"/>
          </ac:grpSpMkLst>
        </pc:grpChg>
        <pc:grpChg chg="mod">
          <ac:chgData name="Barua, Anurag" userId="cabda745-45a9-4fb7-955c-303f4ee68d0d" providerId="ADAL" clId="{BC0F8426-C8E7-4AD7-A900-9A7029922E76}" dt="2023-02-21T21:33:06.973" v="22" actId="1035"/>
          <ac:grpSpMkLst>
            <pc:docMk/>
            <pc:sldMk cId="173879391" sldId="2376"/>
            <ac:grpSpMk id="19" creationId="{47860E42-EE6F-47CA-84AD-8AAA6C864052}"/>
          </ac:grpSpMkLst>
        </pc:grpChg>
        <pc:grpChg chg="mod">
          <ac:chgData name="Barua, Anurag" userId="cabda745-45a9-4fb7-955c-303f4ee68d0d" providerId="ADAL" clId="{BC0F8426-C8E7-4AD7-A900-9A7029922E76}" dt="2023-02-21T21:33:06.973" v="22" actId="1035"/>
          <ac:grpSpMkLst>
            <pc:docMk/>
            <pc:sldMk cId="173879391" sldId="2376"/>
            <ac:grpSpMk id="22" creationId="{B4B1FAFC-7A0B-4403-9DA5-191DE7E167DB}"/>
          </ac:grpSpMkLst>
        </pc:grp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6" creationId="{FF7AA130-BBF9-40FD-BC54-1EBC29552369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8" creationId="{F5042145-5B1B-445E-BD2E-69B2F46B33F6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14" creationId="{7218C9E4-D9FC-4F43-8FB3-C9FF4514323B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15" creationId="{9CA65233-1878-437C-B8E1-AA9D8116B198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17" creationId="{DDCA3863-E287-41C2-8574-F236A4BAF715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26" creationId="{4832405E-2311-4F78-B052-D4A55B68D8F5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28" creationId="{A40CC9B7-6776-417A-9D58-265F37BE041F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31" creationId="{62162753-852E-47C8-AB52-2FEF9A558B52}"/>
          </ac:picMkLst>
        </pc:picChg>
        <pc:picChg chg="mod">
          <ac:chgData name="Barua, Anurag" userId="cabda745-45a9-4fb7-955c-303f4ee68d0d" providerId="ADAL" clId="{BC0F8426-C8E7-4AD7-A900-9A7029922E76}" dt="2023-02-21T21:33:06.973" v="22" actId="1035"/>
          <ac:picMkLst>
            <pc:docMk/>
            <pc:sldMk cId="173879391" sldId="2376"/>
            <ac:picMk id="33" creationId="{E6BA4AD8-3FE6-40BE-8973-0AF8CD4F13A5}"/>
          </ac:picMkLst>
        </pc:picChg>
      </pc:sldChg>
      <pc:sldChg chg="del">
        <pc:chgData name="Barua, Anurag" userId="cabda745-45a9-4fb7-955c-303f4ee68d0d" providerId="ADAL" clId="{BC0F8426-C8E7-4AD7-A900-9A7029922E76}" dt="2023-02-21T21:46:40.882" v="254" actId="47"/>
        <pc:sldMkLst>
          <pc:docMk/>
          <pc:sldMk cId="662726192" sldId="2146847580"/>
        </pc:sldMkLst>
      </pc:sldChg>
      <pc:sldChg chg="modSp mod">
        <pc:chgData name="Barua, Anurag" userId="cabda745-45a9-4fb7-955c-303f4ee68d0d" providerId="ADAL" clId="{BC0F8426-C8E7-4AD7-A900-9A7029922E76}" dt="2023-02-21T22:35:28.745" v="926" actId="108"/>
        <pc:sldMkLst>
          <pc:docMk/>
          <pc:sldMk cId="212697879" sldId="2146847769"/>
        </pc:sldMkLst>
        <pc:spChg chg="mod">
          <ac:chgData name="Barua, Anurag" userId="cabda745-45a9-4fb7-955c-303f4ee68d0d" providerId="ADAL" clId="{BC0F8426-C8E7-4AD7-A900-9A7029922E76}" dt="2023-02-21T22:35:28.745" v="926" actId="108"/>
          <ac:spMkLst>
            <pc:docMk/>
            <pc:sldMk cId="212697879" sldId="2146847769"/>
            <ac:spMk id="3" creationId="{00000000-0000-0000-0000-000000000000}"/>
          </ac:spMkLst>
        </pc:spChg>
        <pc:spChg chg="mod">
          <ac:chgData name="Barua, Anurag" userId="cabda745-45a9-4fb7-955c-303f4ee68d0d" providerId="ADAL" clId="{BC0F8426-C8E7-4AD7-A900-9A7029922E76}" dt="2023-02-21T21:41:13.711" v="30" actId="14100"/>
          <ac:spMkLst>
            <pc:docMk/>
            <pc:sldMk cId="212697879" sldId="2146847769"/>
            <ac:spMk id="110" creationId="{9632C702-5F0B-435E-99D4-FDA1675B8204}"/>
          </ac:spMkLst>
        </pc:spChg>
      </pc:sldChg>
      <pc:sldChg chg="del">
        <pc:chgData name="Barua, Anurag" userId="cabda745-45a9-4fb7-955c-303f4ee68d0d" providerId="ADAL" clId="{BC0F8426-C8E7-4AD7-A900-9A7029922E76}" dt="2023-02-21T21:42:04.821" v="31" actId="47"/>
        <pc:sldMkLst>
          <pc:docMk/>
          <pc:sldMk cId="2133764371" sldId="2147308921"/>
        </pc:sldMkLst>
      </pc:sldChg>
      <pc:sldChg chg="del">
        <pc:chgData name="Barua, Anurag" userId="cabda745-45a9-4fb7-955c-303f4ee68d0d" providerId="ADAL" clId="{BC0F8426-C8E7-4AD7-A900-9A7029922E76}" dt="2023-02-21T21:46:38.726" v="253" actId="47"/>
        <pc:sldMkLst>
          <pc:docMk/>
          <pc:sldMk cId="1822668706" sldId="2147374435"/>
        </pc:sldMkLst>
      </pc:sldChg>
      <pc:sldChg chg="del">
        <pc:chgData name="Barua, Anurag" userId="cabda745-45a9-4fb7-955c-303f4ee68d0d" providerId="ADAL" clId="{BC0F8426-C8E7-4AD7-A900-9A7029922E76}" dt="2023-02-21T21:45:07.240" v="249" actId="47"/>
        <pc:sldMkLst>
          <pc:docMk/>
          <pc:sldMk cId="1633805272" sldId="2147376184"/>
        </pc:sldMkLst>
      </pc:sldChg>
      <pc:sldChg chg="del">
        <pc:chgData name="Barua, Anurag" userId="cabda745-45a9-4fb7-955c-303f4ee68d0d" providerId="ADAL" clId="{BC0F8426-C8E7-4AD7-A900-9A7029922E76}" dt="2023-02-21T21:45:08.007" v="250" actId="47"/>
        <pc:sldMkLst>
          <pc:docMk/>
          <pc:sldMk cId="2078485950" sldId="2147376185"/>
        </pc:sldMkLst>
      </pc:sldChg>
      <pc:sldChg chg="modSp mod">
        <pc:chgData name="Barua, Anurag" userId="cabda745-45a9-4fb7-955c-303f4ee68d0d" providerId="ADAL" clId="{BC0F8426-C8E7-4AD7-A900-9A7029922E76}" dt="2023-02-21T22:34:01.626" v="804" actId="20577"/>
        <pc:sldMkLst>
          <pc:docMk/>
          <pc:sldMk cId="577344995" sldId="2147376263"/>
        </pc:sldMkLst>
        <pc:spChg chg="mod">
          <ac:chgData name="Barua, Anurag" userId="cabda745-45a9-4fb7-955c-303f4ee68d0d" providerId="ADAL" clId="{BC0F8426-C8E7-4AD7-A900-9A7029922E76}" dt="2023-02-21T22:34:01.626" v="804" actId="20577"/>
          <ac:spMkLst>
            <pc:docMk/>
            <pc:sldMk cId="577344995" sldId="2147376263"/>
            <ac:spMk id="18" creationId="{75D2F13B-EBDB-4C1D-819C-A5BE34C04321}"/>
          </ac:spMkLst>
        </pc:spChg>
      </pc:sldChg>
      <pc:sldChg chg="modSp add mod modTransition">
        <pc:chgData name="Barua, Anurag" userId="cabda745-45a9-4fb7-955c-303f4ee68d0d" providerId="ADAL" clId="{BC0F8426-C8E7-4AD7-A900-9A7029922E76}" dt="2023-02-21T22:34:33.974" v="925" actId="1076"/>
        <pc:sldMkLst>
          <pc:docMk/>
          <pc:sldMk cId="468747559" sldId="2147376395"/>
        </pc:sldMkLst>
        <pc:spChg chg="mod">
          <ac:chgData name="Barua, Anurag" userId="cabda745-45a9-4fb7-955c-303f4ee68d0d" providerId="ADAL" clId="{BC0F8426-C8E7-4AD7-A900-9A7029922E76}" dt="2023-02-21T22:34:23.838" v="922" actId="20577"/>
          <ac:spMkLst>
            <pc:docMk/>
            <pc:sldMk cId="468747559" sldId="2147376395"/>
            <ac:spMk id="21" creationId="{1011F319-3082-44C8-9856-09B27928FD33}"/>
          </ac:spMkLst>
        </pc:spChg>
        <pc:picChg chg="mod">
          <ac:chgData name="Barua, Anurag" userId="cabda745-45a9-4fb7-955c-303f4ee68d0d" providerId="ADAL" clId="{BC0F8426-C8E7-4AD7-A900-9A7029922E76}" dt="2023-02-21T22:34:33.974" v="925" actId="1076"/>
          <ac:picMkLst>
            <pc:docMk/>
            <pc:sldMk cId="468747559" sldId="2147376395"/>
            <ac:picMk id="28" creationId="{00113EA3-C5AD-4FA9-B814-217291991F12}"/>
          </ac:picMkLst>
        </pc:picChg>
      </pc:sldChg>
      <pc:sldChg chg="del">
        <pc:chgData name="Barua, Anurag" userId="cabda745-45a9-4fb7-955c-303f4ee68d0d" providerId="ADAL" clId="{BC0F8426-C8E7-4AD7-A900-9A7029922E76}" dt="2023-02-21T21:40:16.045" v="23" actId="47"/>
        <pc:sldMkLst>
          <pc:docMk/>
          <pc:sldMk cId="3075689732" sldId="2147376459"/>
        </pc:sldMkLst>
      </pc:sldChg>
      <pc:sldChg chg="modSp add mod modTransition modNotes">
        <pc:chgData name="Barua, Anurag" userId="cabda745-45a9-4fb7-955c-303f4ee68d0d" providerId="ADAL" clId="{BC0F8426-C8E7-4AD7-A900-9A7029922E76}" dt="2023-02-21T22:38:58.299" v="1051" actId="1035"/>
        <pc:sldMkLst>
          <pc:docMk/>
          <pc:sldMk cId="3828856591" sldId="2147470581"/>
        </pc:sldMkLst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14" creationId="{211879AF-B58A-8D4B-A9C0-CC2F3C06670B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15" creationId="{8CCE11A7-94DE-FA4E-9576-B26D8E363857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16" creationId="{1592588A-CB68-DB4E-B020-B9565DED2F70}"/>
          </ac:spMkLst>
        </pc:spChg>
        <pc:spChg chg="mod">
          <ac:chgData name="Barua, Anurag" userId="cabda745-45a9-4fb7-955c-303f4ee68d0d" providerId="ADAL" clId="{BC0F8426-C8E7-4AD7-A900-9A7029922E76}" dt="2023-02-21T22:01:53.795" v="483" actId="20577"/>
          <ac:spMkLst>
            <pc:docMk/>
            <pc:sldMk cId="3828856591" sldId="2147470581"/>
            <ac:spMk id="24" creationId="{1C94D9E3-C8BD-4943-BD63-9A150801DD5B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25" creationId="{10B873C8-5EFD-41D7-B7A8-2EC17517B946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26" creationId="{15D88164-D6F4-4EB7-ADE1-CA0F5C9CC07C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27" creationId="{C69595F2-AA1A-564E-B6A2-16CE527C6E28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36" creationId="{D05E899F-3CCE-0543-97FC-CAFA7810C3C8}"/>
          </ac:spMkLst>
        </pc:spChg>
        <pc:spChg chg="mod">
          <ac:chgData name="Barua, Anurag" userId="cabda745-45a9-4fb7-955c-303f4ee68d0d" providerId="ADAL" clId="{BC0F8426-C8E7-4AD7-A900-9A7029922E76}" dt="2023-02-21T22:38:58.299" v="1051" actId="1035"/>
          <ac:spMkLst>
            <pc:docMk/>
            <pc:sldMk cId="3828856591" sldId="2147470581"/>
            <ac:spMk id="37" creationId="{4AC933D2-F91F-5843-B845-2FBF00F266C4}"/>
          </ac:spMkLst>
        </pc:s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18" creationId="{691662BD-27B6-194B-B707-84A5B748CE1C}"/>
          </ac:grpSpMkLst>
        </pc:gr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19" creationId="{00072A97-A900-164A-9B91-21144B904D5A}"/>
          </ac:grpSpMkLst>
        </pc:gr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30" creationId="{A9824D9C-EE44-764A-9908-746394A0C992}"/>
          </ac:grpSpMkLst>
        </pc:gr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38" creationId="{255D44F9-FAF4-1344-B9AC-BC2C65FFB3F0}"/>
          </ac:grpSpMkLst>
        </pc:gr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39" creationId="{048ED99D-C744-D942-A540-5AABBCACEE8C}"/>
          </ac:grpSpMkLst>
        </pc:grpChg>
        <pc:grpChg chg="mod">
          <ac:chgData name="Barua, Anurag" userId="cabda745-45a9-4fb7-955c-303f4ee68d0d" providerId="ADAL" clId="{BC0F8426-C8E7-4AD7-A900-9A7029922E76}" dt="2023-02-21T22:38:58.299" v="1051" actId="1035"/>
          <ac:grpSpMkLst>
            <pc:docMk/>
            <pc:sldMk cId="3828856591" sldId="2147470581"/>
            <ac:grpSpMk id="40" creationId="{2974C1AA-021D-2446-8604-32912DFC46ED}"/>
          </ac:grpSpMkLst>
        </pc:grp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21" creationId="{B590CF81-FA6D-4F45-A528-41445E0FB9CC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22" creationId="{FD24A166-4A0D-41F8-A348-2E537B6E3ADC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23" creationId="{5BB024D8-D065-6941-91AE-9C423DFF8965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31" creationId="{FA350368-693D-D34D-A330-7027924F43DE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32" creationId="{B9D16515-E3A1-A843-B4A5-4F5249733C36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34" creationId="{6F772F4A-586E-594A-8832-A6E44C7F4338}"/>
          </ac:picMkLst>
        </pc:picChg>
        <pc:picChg chg="mod">
          <ac:chgData name="Barua, Anurag" userId="cabda745-45a9-4fb7-955c-303f4ee68d0d" providerId="ADAL" clId="{BC0F8426-C8E7-4AD7-A900-9A7029922E76}" dt="2023-02-21T22:38:58.299" v="1051" actId="1035"/>
          <ac:picMkLst>
            <pc:docMk/>
            <pc:sldMk cId="3828856591" sldId="2147470581"/>
            <ac:picMk id="35" creationId="{EEAEFF19-F0B0-EE4A-AE57-2AFB19184A8E}"/>
          </ac:picMkLst>
        </pc:picChg>
      </pc:sldChg>
      <pc:sldChg chg="modSp mod">
        <pc:chgData name="Barua, Anurag" userId="cabda745-45a9-4fb7-955c-303f4ee68d0d" providerId="ADAL" clId="{BC0F8426-C8E7-4AD7-A900-9A7029922E76}" dt="2023-02-21T22:35:48.360" v="928" actId="1076"/>
        <pc:sldMkLst>
          <pc:docMk/>
          <pc:sldMk cId="3286268162" sldId="2147471390"/>
        </pc:sldMkLst>
        <pc:spChg chg="mod">
          <ac:chgData name="Barua, Anurag" userId="cabda745-45a9-4fb7-955c-303f4ee68d0d" providerId="ADAL" clId="{BC0F8426-C8E7-4AD7-A900-9A7029922E76}" dt="2023-02-21T22:35:48.360" v="928" actId="1076"/>
          <ac:spMkLst>
            <pc:docMk/>
            <pc:sldMk cId="3286268162" sldId="2147471390"/>
            <ac:spMk id="3" creationId="{0E3B254C-C523-4726-BA15-A87474572E8F}"/>
          </ac:spMkLst>
        </pc:spChg>
      </pc:sldChg>
      <pc:sldChg chg="modSp add mod modTransition">
        <pc:chgData name="Barua, Anurag" userId="cabda745-45a9-4fb7-955c-303f4ee68d0d" providerId="ADAL" clId="{BC0F8426-C8E7-4AD7-A900-9A7029922E76}" dt="2023-02-21T21:43:12.813" v="241" actId="1035"/>
        <pc:sldMkLst>
          <pc:docMk/>
          <pc:sldMk cId="274209667" sldId="2147478463"/>
        </pc:sldMkLst>
        <pc:spChg chg="mod">
          <ac:chgData name="Barua, Anurag" userId="cabda745-45a9-4fb7-955c-303f4ee68d0d" providerId="ADAL" clId="{BC0F8426-C8E7-4AD7-A900-9A7029922E76}" dt="2023-02-21T21:43:00.113" v="199" actId="108"/>
          <ac:spMkLst>
            <pc:docMk/>
            <pc:sldMk cId="274209667" sldId="2147478463"/>
            <ac:spMk id="36" creationId="{C78E95EA-CCCE-4A46-830D-91ABC9615C64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37" creationId="{E7301B45-6F92-4501-B71D-1A56F59CF775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38" creationId="{ADEE32FF-A27A-4DF9-AB77-10B35B4ACBED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4" creationId="{1CB58594-D08E-446D-997D-50D2A6781920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5" creationId="{9B92B824-094C-443A-95ED-BC6359739C87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6" creationId="{1E17BFCD-3471-4431-9F29-64A5C1E60C11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7" creationId="{297D7F81-0C41-4743-AB33-0DBAF3B09CE9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8" creationId="{D76079AF-CB10-4AD6-AF44-14DBB93C6CB7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49" creationId="{B87D8187-54F7-4349-8CC9-05DB910F6FA1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50" creationId="{C6346D6D-C0EB-4254-8327-397F3EA014E7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52" creationId="{0D4591AB-6FD5-43F5-B06A-F23288AC61E5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55" creationId="{7BCB9F09-AB70-40AC-A5F0-475AC8B08BE7}"/>
          </ac:spMkLst>
        </pc:spChg>
        <pc:spChg chg="mod">
          <ac:chgData name="Barua, Anurag" userId="cabda745-45a9-4fb7-955c-303f4ee68d0d" providerId="ADAL" clId="{BC0F8426-C8E7-4AD7-A900-9A7029922E76}" dt="2023-02-21T21:43:12.813" v="241" actId="1035"/>
          <ac:spMkLst>
            <pc:docMk/>
            <pc:sldMk cId="274209667" sldId="2147478463"/>
            <ac:spMk id="56" creationId="{06DAE523-B685-45C3-9935-40FB84FF4548}"/>
          </ac:spMkLst>
        </pc:sp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3" creationId="{2D32E938-FF89-410F-AFCF-6EC9E4D6000B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" creationId="{A0CE246E-CE9E-4D10-AFD7-CC9DEF16AAE6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40" creationId="{92B14E1C-8605-4B1E-A2B8-50D81934F2C0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42" creationId="{A33092F8-3E88-4571-B76E-A4271B924777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43" creationId="{D1AC10FA-441D-4496-B90D-F344C02E5A6F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1" creationId="{80BBF094-278E-4D5C-898A-76AAAFC89C58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3" creationId="{E1338635-9817-47CA-9A7C-CCE20853ADF9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4" creationId="{C57D52CA-0737-48E6-A237-AC2464B29941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7" creationId="{07CE38D2-28A4-4016-A950-066A69066C3A}"/>
          </ac:picMkLst>
        </pc:picChg>
        <pc:picChg chg="mod">
          <ac:chgData name="Barua, Anurag" userId="cabda745-45a9-4fb7-955c-303f4ee68d0d" providerId="ADAL" clId="{BC0F8426-C8E7-4AD7-A900-9A7029922E76}" dt="2023-02-21T21:43:12.813" v="241" actId="1035"/>
          <ac:picMkLst>
            <pc:docMk/>
            <pc:sldMk cId="274209667" sldId="2147478463"/>
            <ac:picMk id="58" creationId="{4B71DF0B-104A-48F7-897C-1095E95804A4}"/>
          </ac:picMkLst>
        </pc:picChg>
      </pc:sldChg>
      <pc:sldChg chg="modSp add mod modTransition modNotes modNotesTx">
        <pc:chgData name="Barua, Anurag" userId="cabda745-45a9-4fb7-955c-303f4ee68d0d" providerId="ADAL" clId="{BC0F8426-C8E7-4AD7-A900-9A7029922E76}" dt="2023-02-21T22:38:12.377" v="996" actId="108"/>
        <pc:sldMkLst>
          <pc:docMk/>
          <pc:sldMk cId="595083289" sldId="2147478468"/>
        </pc:sldMkLst>
        <pc:spChg chg="mod">
          <ac:chgData name="Barua, Anurag" userId="cabda745-45a9-4fb7-955c-303f4ee68d0d" providerId="ADAL" clId="{BC0F8426-C8E7-4AD7-A900-9A7029922E76}" dt="2023-02-21T22:38:12.377" v="996" actId="108"/>
          <ac:spMkLst>
            <pc:docMk/>
            <pc:sldMk cId="595083289" sldId="2147478468"/>
            <ac:spMk id="2" creationId="{1EEA46D9-AA85-40E4-B3BF-B0827ECBED14}"/>
          </ac:spMkLst>
        </pc:spChg>
      </pc:sldChg>
      <pc:sldChg chg="modSp add mod modTransition">
        <pc:chgData name="Barua, Anurag" userId="cabda745-45a9-4fb7-955c-303f4ee68d0d" providerId="ADAL" clId="{BC0F8426-C8E7-4AD7-A900-9A7029922E76}" dt="2023-02-21T22:36:22.940" v="933" actId="114"/>
        <pc:sldMkLst>
          <pc:docMk/>
          <pc:sldMk cId="1874269594" sldId="2147478494"/>
        </pc:sldMkLst>
        <pc:spChg chg="mod">
          <ac:chgData name="Barua, Anurag" userId="cabda745-45a9-4fb7-955c-303f4ee68d0d" providerId="ADAL" clId="{BC0F8426-C8E7-4AD7-A900-9A7029922E76}" dt="2023-02-21T22:36:22.940" v="933" actId="114"/>
          <ac:spMkLst>
            <pc:docMk/>
            <pc:sldMk cId="1874269594" sldId="2147478494"/>
            <ac:spMk id="84" creationId="{92BD9452-917D-45B2-AA71-2D23D9C149E0}"/>
          </ac:spMkLst>
        </pc:spChg>
      </pc:sldChg>
      <pc:sldChg chg="modSp add mod modTransition">
        <pc:chgData name="Barua, Anurag" userId="cabda745-45a9-4fb7-955c-303f4ee68d0d" providerId="ADAL" clId="{BC0F8426-C8E7-4AD7-A900-9A7029922E76}" dt="2023-02-21T22:36:56.264" v="935" actId="115"/>
        <pc:sldMkLst>
          <pc:docMk/>
          <pc:sldMk cId="2826792771" sldId="2147478495"/>
        </pc:sldMkLst>
        <pc:spChg chg="mod">
          <ac:chgData name="Barua, Anurag" userId="cabda745-45a9-4fb7-955c-303f4ee68d0d" providerId="ADAL" clId="{BC0F8426-C8E7-4AD7-A900-9A7029922E76}" dt="2023-02-21T22:36:56.264" v="935" actId="115"/>
          <ac:spMkLst>
            <pc:docMk/>
            <pc:sldMk cId="2826792771" sldId="2147478495"/>
            <ac:spMk id="84" creationId="{92BD9452-917D-45B2-AA71-2D23D9C149E0}"/>
          </ac:spMkLst>
        </pc:spChg>
      </pc:sldChg>
      <pc:sldChg chg="modSp add mod modTransition">
        <pc:chgData name="Barua, Anurag" userId="cabda745-45a9-4fb7-955c-303f4ee68d0d" providerId="ADAL" clId="{BC0F8426-C8E7-4AD7-A900-9A7029922E76}" dt="2023-02-21T22:37:25.484" v="937" actId="115"/>
        <pc:sldMkLst>
          <pc:docMk/>
          <pc:sldMk cId="868758366" sldId="2147478496"/>
        </pc:sldMkLst>
        <pc:spChg chg="mod">
          <ac:chgData name="Barua, Anurag" userId="cabda745-45a9-4fb7-955c-303f4ee68d0d" providerId="ADAL" clId="{BC0F8426-C8E7-4AD7-A900-9A7029922E76}" dt="2023-02-21T22:37:25.484" v="937" actId="115"/>
          <ac:spMkLst>
            <pc:docMk/>
            <pc:sldMk cId="868758366" sldId="2147478496"/>
            <ac:spMk id="84" creationId="{92BD9452-917D-45B2-AA71-2D23D9C149E0}"/>
          </ac:spMkLst>
        </pc:spChg>
      </pc:sldChg>
      <pc:sldMasterChg chg="delSldLayout">
        <pc:chgData name="Barua, Anurag" userId="cabda745-45a9-4fb7-955c-303f4ee68d0d" providerId="ADAL" clId="{BC0F8426-C8E7-4AD7-A900-9A7029922E76}" dt="2023-02-21T21:46:38.726" v="253" actId="47"/>
        <pc:sldMasterMkLst>
          <pc:docMk/>
          <pc:sldMasterMk cId="3626364333" sldId="2147483675"/>
        </pc:sldMasterMkLst>
        <pc:sldLayoutChg chg="del">
          <pc:chgData name="Barua, Anurag" userId="cabda745-45a9-4fb7-955c-303f4ee68d0d" providerId="ADAL" clId="{BC0F8426-C8E7-4AD7-A900-9A7029922E76}" dt="2023-02-21T21:46:38.726" v="253" actId="47"/>
          <pc:sldLayoutMkLst>
            <pc:docMk/>
            <pc:sldMasterMk cId="3626364333" sldId="2147483675"/>
            <pc:sldLayoutMk cId="132606993" sldId="2147483692"/>
          </pc:sldLayoutMkLst>
        </pc:sldLayoutChg>
      </pc:sldMasterChg>
    </pc:docChg>
  </pc:docChgLst>
  <pc:docChgLst>
    <pc:chgData name="Barua, Anurag" userId="cabda745-45a9-4fb7-955c-303f4ee68d0d" providerId="ADAL" clId="{E9747E21-FB8F-41B2-9611-03E3DAFA738F}"/>
    <pc:docChg chg="undo custSel addSld delSld modSld">
      <pc:chgData name="Barua, Anurag" userId="cabda745-45a9-4fb7-955c-303f4ee68d0d" providerId="ADAL" clId="{E9747E21-FB8F-41B2-9611-03E3DAFA738F}" dt="2023-06-02T18:01:03.626" v="823" actId="14100"/>
      <pc:docMkLst>
        <pc:docMk/>
      </pc:docMkLst>
      <pc:sldChg chg="modSp mod">
        <pc:chgData name="Barua, Anurag" userId="cabda745-45a9-4fb7-955c-303f4ee68d0d" providerId="ADAL" clId="{E9747E21-FB8F-41B2-9611-03E3DAFA738F}" dt="2023-05-18T19:54:12.040" v="619" actId="20577"/>
        <pc:sldMkLst>
          <pc:docMk/>
          <pc:sldMk cId="1196823299" sldId="307"/>
        </pc:sldMkLst>
        <pc:spChg chg="mod">
          <ac:chgData name="Barua, Anurag" userId="cabda745-45a9-4fb7-955c-303f4ee68d0d" providerId="ADAL" clId="{E9747E21-FB8F-41B2-9611-03E3DAFA738F}" dt="2023-05-18T19:54:12.040" v="619" actId="20577"/>
          <ac:spMkLst>
            <pc:docMk/>
            <pc:sldMk cId="1196823299" sldId="307"/>
            <ac:spMk id="2" creationId="{BC75B72D-7602-A340-B17E-A920EB7E48B1}"/>
          </ac:spMkLst>
        </pc:spChg>
      </pc:sldChg>
      <pc:sldChg chg="del">
        <pc:chgData name="Barua, Anurag" userId="cabda745-45a9-4fb7-955c-303f4ee68d0d" providerId="ADAL" clId="{E9747E21-FB8F-41B2-9611-03E3DAFA738F}" dt="2023-05-17T15:44:27.760" v="68" actId="47"/>
        <pc:sldMkLst>
          <pc:docMk/>
          <pc:sldMk cId="1975203079" sldId="330"/>
        </pc:sldMkLst>
      </pc:sldChg>
      <pc:sldChg chg="modSp add del mod">
        <pc:chgData name="Barua, Anurag" userId="cabda745-45a9-4fb7-955c-303f4ee68d0d" providerId="ADAL" clId="{E9747E21-FB8F-41B2-9611-03E3DAFA738F}" dt="2023-06-02T11:26:43.250" v="642" actId="47"/>
        <pc:sldMkLst>
          <pc:docMk/>
          <pc:sldMk cId="2057071755" sldId="475"/>
        </pc:sldMkLst>
        <pc:spChg chg="mod">
          <ac:chgData name="Barua, Anurag" userId="cabda745-45a9-4fb7-955c-303f4ee68d0d" providerId="ADAL" clId="{E9747E21-FB8F-41B2-9611-03E3DAFA738F}" dt="2023-05-17T13:27:25.028" v="49" actId="20577"/>
          <ac:spMkLst>
            <pc:docMk/>
            <pc:sldMk cId="2057071755" sldId="475"/>
            <ac:spMk id="8" creationId="{DE1CD3E3-0165-4672-9367-EBC1BB256BC9}"/>
          </ac:spMkLst>
        </pc:spChg>
      </pc:sldChg>
      <pc:sldChg chg="del">
        <pc:chgData name="Barua, Anurag" userId="cabda745-45a9-4fb7-955c-303f4ee68d0d" providerId="ADAL" clId="{E9747E21-FB8F-41B2-9611-03E3DAFA738F}" dt="2023-05-17T17:40:26.292" v="474" actId="2696"/>
        <pc:sldMkLst>
          <pc:docMk/>
          <pc:sldMk cId="173879391" sldId="2376"/>
        </pc:sldMkLst>
      </pc:sldChg>
      <pc:sldChg chg="add">
        <pc:chgData name="Barua, Anurag" userId="cabda745-45a9-4fb7-955c-303f4ee68d0d" providerId="ADAL" clId="{E9747E21-FB8F-41B2-9611-03E3DAFA738F}" dt="2023-05-17T17:40:31.620" v="475"/>
        <pc:sldMkLst>
          <pc:docMk/>
          <pc:sldMk cId="1268449310" sldId="2376"/>
        </pc:sldMkLst>
      </pc:sldChg>
      <pc:sldChg chg="addSp modSp add mod">
        <pc:chgData name="Barua, Anurag" userId="cabda745-45a9-4fb7-955c-303f4ee68d0d" providerId="ADAL" clId="{E9747E21-FB8F-41B2-9611-03E3DAFA738F}" dt="2023-06-02T11:29:58.493" v="696" actId="14100"/>
        <pc:sldMkLst>
          <pc:docMk/>
          <pc:sldMk cId="2629129438" sldId="2146847429"/>
        </pc:sldMkLst>
        <pc:spChg chg="mod">
          <ac:chgData name="Barua, Anurag" userId="cabda745-45a9-4fb7-955c-303f4ee68d0d" providerId="ADAL" clId="{E9747E21-FB8F-41B2-9611-03E3DAFA738F}" dt="2023-05-17T19:49:38.646" v="513" actId="20577"/>
          <ac:spMkLst>
            <pc:docMk/>
            <pc:sldMk cId="2629129438" sldId="2146847429"/>
            <ac:spMk id="2" creationId="{A03DFB62-7C31-4A8C-AECF-B62B0F826E06}"/>
          </ac:spMkLst>
        </pc:spChg>
        <pc:spChg chg="add mod">
          <ac:chgData name="Barua, Anurag" userId="cabda745-45a9-4fb7-955c-303f4ee68d0d" providerId="ADAL" clId="{E9747E21-FB8F-41B2-9611-03E3DAFA738F}" dt="2023-06-02T11:28:15.309" v="647" actId="208"/>
          <ac:spMkLst>
            <pc:docMk/>
            <pc:sldMk cId="2629129438" sldId="2146847429"/>
            <ac:spMk id="3" creationId="{56428116-B6F6-C014-A86C-D6FE796F06AA}"/>
          </ac:spMkLst>
        </pc:spChg>
        <pc:spChg chg="add mod">
          <ac:chgData name="Barua, Anurag" userId="cabda745-45a9-4fb7-955c-303f4ee68d0d" providerId="ADAL" clId="{E9747E21-FB8F-41B2-9611-03E3DAFA738F}" dt="2023-06-02T11:29:58.493" v="696" actId="14100"/>
          <ac:spMkLst>
            <pc:docMk/>
            <pc:sldMk cId="2629129438" sldId="2146847429"/>
            <ac:spMk id="4" creationId="{8EE17C31-2462-BDB4-C582-E751C6A17422}"/>
          </ac:spMkLst>
        </pc:spChg>
        <pc:spChg chg="mod">
          <ac:chgData name="Barua, Anurag" userId="cabda745-45a9-4fb7-955c-303f4ee68d0d" providerId="ADAL" clId="{E9747E21-FB8F-41B2-9611-03E3DAFA738F}" dt="2023-05-17T20:24:26.210" v="536" actId="2711"/>
          <ac:spMkLst>
            <pc:docMk/>
            <pc:sldMk cId="2629129438" sldId="2146847429"/>
            <ac:spMk id="167" creationId="{3A24290F-A8D3-4D9E-908B-1DABD779449F}"/>
          </ac:spMkLst>
        </pc:spChg>
        <pc:grpChg chg="mod">
          <ac:chgData name="Barua, Anurag" userId="cabda745-45a9-4fb7-955c-303f4ee68d0d" providerId="ADAL" clId="{E9747E21-FB8F-41B2-9611-03E3DAFA738F}" dt="2023-05-17T19:49:48.670" v="535" actId="1035"/>
          <ac:grpSpMkLst>
            <pc:docMk/>
            <pc:sldMk cId="2629129438" sldId="2146847429"/>
            <ac:grpSpMk id="80" creationId="{A077B591-41FB-42CD-940D-2974DDBF3966}"/>
          </ac:grpSpMkLst>
        </pc:grpChg>
      </pc:sldChg>
      <pc:sldChg chg="modSp add mod">
        <pc:chgData name="Barua, Anurag" userId="cabda745-45a9-4fb7-955c-303f4ee68d0d" providerId="ADAL" clId="{E9747E21-FB8F-41B2-9611-03E3DAFA738F}" dt="2023-06-02T17:41:34.527" v="714" actId="2711"/>
        <pc:sldMkLst>
          <pc:docMk/>
          <pc:sldMk cId="1114993384" sldId="2146847745"/>
        </pc:sldMkLst>
        <pc:spChg chg="mod">
          <ac:chgData name="Barua, Anurag" userId="cabda745-45a9-4fb7-955c-303f4ee68d0d" providerId="ADAL" clId="{E9747E21-FB8F-41B2-9611-03E3DAFA738F}" dt="2023-06-02T17:41:34.527" v="714" actId="2711"/>
          <ac:spMkLst>
            <pc:docMk/>
            <pc:sldMk cId="1114993384" sldId="2146847745"/>
            <ac:spMk id="300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0:32.047" v="704" actId="255"/>
          <ac:spMkLst>
            <pc:docMk/>
            <pc:sldMk cId="1114993384" sldId="2146847745"/>
            <ac:spMk id="303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0:43.226" v="705" actId="2711"/>
          <ac:spMkLst>
            <pc:docMk/>
            <pc:sldMk cId="1114993384" sldId="2146847745"/>
            <ac:spMk id="304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0:48.412" v="706" actId="108"/>
          <ac:spMkLst>
            <pc:docMk/>
            <pc:sldMk cId="1114993384" sldId="2146847745"/>
            <ac:spMk id="305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0:53.467" v="707" actId="108"/>
          <ac:spMkLst>
            <pc:docMk/>
            <pc:sldMk cId="1114993384" sldId="2146847745"/>
            <ac:spMk id="306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0:58.567" v="708" actId="108"/>
          <ac:spMkLst>
            <pc:docMk/>
            <pc:sldMk cId="1114993384" sldId="2146847745"/>
            <ac:spMk id="307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1:06.399" v="709" actId="108"/>
          <ac:spMkLst>
            <pc:docMk/>
            <pc:sldMk cId="1114993384" sldId="2146847745"/>
            <ac:spMk id="308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1:10.512" v="710" actId="108"/>
          <ac:spMkLst>
            <pc:docMk/>
            <pc:sldMk cId="1114993384" sldId="2146847745"/>
            <ac:spMk id="309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1:15.156" v="711" actId="108"/>
          <ac:spMkLst>
            <pc:docMk/>
            <pc:sldMk cId="1114993384" sldId="2146847745"/>
            <ac:spMk id="310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1:19.984" v="712" actId="108"/>
          <ac:spMkLst>
            <pc:docMk/>
            <pc:sldMk cId="1114993384" sldId="2146847745"/>
            <ac:spMk id="311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6-02T17:41:24.481" v="713" actId="108"/>
          <ac:spMkLst>
            <pc:docMk/>
            <pc:sldMk cId="1114993384" sldId="2146847745"/>
            <ac:spMk id="312" creationId="{00000000-0000-0000-0000-000000000000}"/>
          </ac:spMkLst>
        </pc:spChg>
        <pc:spChg chg="mod">
          <ac:chgData name="Barua, Anurag" userId="cabda745-45a9-4fb7-955c-303f4ee68d0d" providerId="ADAL" clId="{E9747E21-FB8F-41B2-9611-03E3DAFA738F}" dt="2023-05-18T20:44:40.357" v="625" actId="1076"/>
          <ac:spMkLst>
            <pc:docMk/>
            <pc:sldMk cId="1114993384" sldId="2146847745"/>
            <ac:spMk id="315" creationId="{00000000-0000-0000-0000-000000000000}"/>
          </ac:spMkLst>
        </pc:spChg>
      </pc:sldChg>
      <pc:sldChg chg="del">
        <pc:chgData name="Barua, Anurag" userId="cabda745-45a9-4fb7-955c-303f4ee68d0d" providerId="ADAL" clId="{E9747E21-FB8F-41B2-9611-03E3DAFA738F}" dt="2023-05-17T15:44:46.499" v="69" actId="47"/>
        <pc:sldMkLst>
          <pc:docMk/>
          <pc:sldMk cId="212697879" sldId="2146847769"/>
        </pc:sldMkLst>
      </pc:sldChg>
      <pc:sldChg chg="modSp add mod">
        <pc:chgData name="Barua, Anurag" userId="cabda745-45a9-4fb7-955c-303f4ee68d0d" providerId="ADAL" clId="{E9747E21-FB8F-41B2-9611-03E3DAFA738F}" dt="2023-05-18T20:46:40.131" v="641" actId="20577"/>
        <pc:sldMkLst>
          <pc:docMk/>
          <pc:sldMk cId="507736077" sldId="2147373949"/>
        </pc:sldMkLst>
        <pc:spChg chg="mod">
          <ac:chgData name="Barua, Anurag" userId="cabda745-45a9-4fb7-955c-303f4ee68d0d" providerId="ADAL" clId="{E9747E21-FB8F-41B2-9611-03E3DAFA738F}" dt="2023-05-18T20:46:40.131" v="641" actId="20577"/>
          <ac:spMkLst>
            <pc:docMk/>
            <pc:sldMk cId="507736077" sldId="2147373949"/>
            <ac:spMk id="2" creationId="{00000000-0000-0000-0000-000000000000}"/>
          </ac:spMkLst>
        </pc:spChg>
      </pc:sldChg>
      <pc:sldChg chg="addSp modSp add mod modTransition">
        <pc:chgData name="Barua, Anurag" userId="cabda745-45a9-4fb7-955c-303f4ee68d0d" providerId="ADAL" clId="{E9747E21-FB8F-41B2-9611-03E3DAFA738F}" dt="2023-06-02T18:01:03.626" v="823" actId="14100"/>
        <pc:sldMkLst>
          <pc:docMk/>
          <pc:sldMk cId="2619099957" sldId="2147375502"/>
        </pc:sldMkLst>
        <pc:spChg chg="add mod">
          <ac:chgData name="Barua, Anurag" userId="cabda745-45a9-4fb7-955c-303f4ee68d0d" providerId="ADAL" clId="{E9747E21-FB8F-41B2-9611-03E3DAFA738F}" dt="2023-06-02T17:55:51.700" v="719" actId="1582"/>
          <ac:spMkLst>
            <pc:docMk/>
            <pc:sldMk cId="2619099957" sldId="2147375502"/>
            <ac:spMk id="2" creationId="{9DCBEF8C-FFDD-1656-1B82-F6447083FC7F}"/>
          </ac:spMkLst>
        </pc:spChg>
        <pc:spChg chg="add mod">
          <ac:chgData name="Barua, Anurag" userId="cabda745-45a9-4fb7-955c-303f4ee68d0d" providerId="ADAL" clId="{E9747E21-FB8F-41B2-9611-03E3DAFA738F}" dt="2023-06-02T18:01:03.626" v="823" actId="14100"/>
          <ac:spMkLst>
            <pc:docMk/>
            <pc:sldMk cId="2619099957" sldId="2147375502"/>
            <ac:spMk id="4" creationId="{7F707572-F987-AF69-CE6E-696093A7726C}"/>
          </ac:spMkLst>
        </pc:spChg>
        <pc:spChg chg="mod">
          <ac:chgData name="Barua, Anurag" userId="cabda745-45a9-4fb7-955c-303f4ee68d0d" providerId="ADAL" clId="{E9747E21-FB8F-41B2-9611-03E3DAFA738F}" dt="2023-05-17T20:58:17.387" v="615" actId="20577"/>
          <ac:spMkLst>
            <pc:docMk/>
            <pc:sldMk cId="2619099957" sldId="2147375502"/>
            <ac:spMk id="33" creationId="{00000000-0000-0000-0000-000000000000}"/>
          </ac:spMkLst>
        </pc:spChg>
      </pc:sldChg>
      <pc:sldChg chg="modSp mod">
        <pc:chgData name="Barua, Anurag" userId="cabda745-45a9-4fb7-955c-303f4ee68d0d" providerId="ADAL" clId="{E9747E21-FB8F-41B2-9611-03E3DAFA738F}" dt="2023-06-02T17:39:13.458" v="702" actId="20577"/>
        <pc:sldMkLst>
          <pc:docMk/>
          <pc:sldMk cId="1450814610" sldId="2147376458"/>
        </pc:sldMkLst>
        <pc:spChg chg="mod">
          <ac:chgData name="Barua, Anurag" userId="cabda745-45a9-4fb7-955c-303f4ee68d0d" providerId="ADAL" clId="{E9747E21-FB8F-41B2-9611-03E3DAFA738F}" dt="2023-06-02T17:39:13.458" v="702" actId="20577"/>
          <ac:spMkLst>
            <pc:docMk/>
            <pc:sldMk cId="1450814610" sldId="2147376458"/>
            <ac:spMk id="3" creationId="{D9E383BD-430A-40BB-9378-BC67F76053CA}"/>
          </ac:spMkLst>
        </pc:spChg>
      </pc:sldChg>
      <pc:sldChg chg="modSp add mod">
        <pc:chgData name="Barua, Anurag" userId="cabda745-45a9-4fb7-955c-303f4ee68d0d" providerId="ADAL" clId="{E9747E21-FB8F-41B2-9611-03E3DAFA738F}" dt="2023-06-02T11:27:36.805" v="643" actId="1076"/>
        <pc:sldMkLst>
          <pc:docMk/>
          <pc:sldMk cId="2760053729" sldId="2147376939"/>
        </pc:sldMkLst>
        <pc:spChg chg="mod">
          <ac:chgData name="Barua, Anurag" userId="cabda745-45a9-4fb7-955c-303f4ee68d0d" providerId="ADAL" clId="{E9747E21-FB8F-41B2-9611-03E3DAFA738F}" dt="2023-05-18T19:56:37.612" v="622" actId="1076"/>
          <ac:spMkLst>
            <pc:docMk/>
            <pc:sldMk cId="2760053729" sldId="2147376939"/>
            <ac:spMk id="2" creationId="{3FA1C343-CBA9-4970-86A2-8E749FEEC50F}"/>
          </ac:spMkLst>
        </pc:spChg>
        <pc:spChg chg="mod">
          <ac:chgData name="Barua, Anurag" userId="cabda745-45a9-4fb7-955c-303f4ee68d0d" providerId="ADAL" clId="{E9747E21-FB8F-41B2-9611-03E3DAFA738F}" dt="2023-06-02T11:27:36.805" v="643" actId="1076"/>
          <ac:spMkLst>
            <pc:docMk/>
            <pc:sldMk cId="2760053729" sldId="2147376939"/>
            <ac:spMk id="13" creationId="{224352E9-8CB5-4462-A5F2-F41A4E2F5C19}"/>
          </ac:spMkLst>
        </pc:spChg>
      </pc:sldChg>
      <pc:sldChg chg="add">
        <pc:chgData name="Barua, Anurag" userId="cabda745-45a9-4fb7-955c-303f4ee68d0d" providerId="ADAL" clId="{E9747E21-FB8F-41B2-9611-03E3DAFA738F}" dt="2023-05-17T17:40:31.620" v="475"/>
        <pc:sldMkLst>
          <pc:docMk/>
          <pc:sldMk cId="3191171257" sldId="2147470581"/>
        </pc:sldMkLst>
      </pc:sldChg>
      <pc:sldChg chg="del">
        <pc:chgData name="Barua, Anurag" userId="cabda745-45a9-4fb7-955c-303f4ee68d0d" providerId="ADAL" clId="{E9747E21-FB8F-41B2-9611-03E3DAFA738F}" dt="2023-05-17T17:40:26.292" v="474" actId="2696"/>
        <pc:sldMkLst>
          <pc:docMk/>
          <pc:sldMk cId="3828856591" sldId="2147470581"/>
        </pc:sldMkLst>
      </pc:sldChg>
      <pc:sldChg chg="del">
        <pc:chgData name="Barua, Anurag" userId="cabda745-45a9-4fb7-955c-303f4ee68d0d" providerId="ADAL" clId="{E9747E21-FB8F-41B2-9611-03E3DAFA738F}" dt="2023-05-17T20:57:28.904" v="538" actId="47"/>
        <pc:sldMkLst>
          <pc:docMk/>
          <pc:sldMk cId="2023945749" sldId="2147471394"/>
        </pc:sldMkLst>
      </pc:sldChg>
      <pc:sldChg chg="addSp modSp add mod">
        <pc:chgData name="Barua, Anurag" userId="cabda745-45a9-4fb7-955c-303f4ee68d0d" providerId="ADAL" clId="{E9747E21-FB8F-41B2-9611-03E3DAFA738F}" dt="2023-05-17T15:48:29.455" v="94" actId="20577"/>
        <pc:sldMkLst>
          <pc:docMk/>
          <pc:sldMk cId="676485880" sldId="2147478395"/>
        </pc:sldMkLst>
        <pc:spChg chg="add mod">
          <ac:chgData name="Barua, Anurag" userId="cabda745-45a9-4fb7-955c-303f4ee68d0d" providerId="ADAL" clId="{E9747E21-FB8F-41B2-9611-03E3DAFA738F}" dt="2023-05-17T15:48:29.455" v="94" actId="20577"/>
          <ac:spMkLst>
            <pc:docMk/>
            <pc:sldMk cId="676485880" sldId="2147478395"/>
            <ac:spMk id="2" creationId="{8D56E3C1-926C-EA97-19E5-61F995C672A7}"/>
          </ac:spMkLst>
        </pc:spChg>
        <pc:spChg chg="mod">
          <ac:chgData name="Barua, Anurag" userId="cabda745-45a9-4fb7-955c-303f4ee68d0d" providerId="ADAL" clId="{E9747E21-FB8F-41B2-9611-03E3DAFA738F}" dt="2023-05-17T15:47:56.723" v="75" actId="207"/>
          <ac:spMkLst>
            <pc:docMk/>
            <pc:sldMk cId="676485880" sldId="2147478395"/>
            <ac:spMk id="40" creationId="{3359A146-CD28-5340-B281-A49476EB7847}"/>
          </ac:spMkLst>
        </pc:spChg>
        <pc:spChg chg="mod">
          <ac:chgData name="Barua, Anurag" userId="cabda745-45a9-4fb7-955c-303f4ee68d0d" providerId="ADAL" clId="{E9747E21-FB8F-41B2-9611-03E3DAFA738F}" dt="2023-05-17T15:47:46.444" v="74" actId="20577"/>
          <ac:spMkLst>
            <pc:docMk/>
            <pc:sldMk cId="676485880" sldId="2147478395"/>
            <ac:spMk id="55" creationId="{04F08E14-3703-495E-8536-A739E69567A1}"/>
          </ac:spMkLst>
        </pc:spChg>
      </pc:sldChg>
      <pc:sldChg chg="del modNotes">
        <pc:chgData name="Barua, Anurag" userId="cabda745-45a9-4fb7-955c-303f4ee68d0d" providerId="ADAL" clId="{E9747E21-FB8F-41B2-9611-03E3DAFA738F}" dt="2023-05-17T17:16:00.750" v="118" actId="47"/>
        <pc:sldMkLst>
          <pc:docMk/>
          <pc:sldMk cId="595083289" sldId="2147478468"/>
        </pc:sldMkLst>
      </pc:sldChg>
      <pc:sldChg chg="addSp delSp modSp add mod">
        <pc:chgData name="Barua, Anurag" userId="cabda745-45a9-4fb7-955c-303f4ee68d0d" providerId="ADAL" clId="{E9747E21-FB8F-41B2-9611-03E3DAFA738F}" dt="2023-06-02T17:39:07.719" v="701" actId="20577"/>
        <pc:sldMkLst>
          <pc:docMk/>
          <pc:sldMk cId="698066322" sldId="2147479291"/>
        </pc:sldMkLst>
        <pc:spChg chg="add mod">
          <ac:chgData name="Barua, Anurag" userId="cabda745-45a9-4fb7-955c-303f4ee68d0d" providerId="ADAL" clId="{E9747E21-FB8F-41B2-9611-03E3DAFA738F}" dt="2023-05-17T13:29:47.068" v="63"/>
          <ac:spMkLst>
            <pc:docMk/>
            <pc:sldMk cId="698066322" sldId="2147479291"/>
            <ac:spMk id="3" creationId="{E4E9AFD4-0D3F-007D-CAD1-6627BBF5DED8}"/>
          </ac:spMkLst>
        </pc:spChg>
        <pc:spChg chg="add mod">
          <ac:chgData name="Barua, Anurag" userId="cabda745-45a9-4fb7-955c-303f4ee68d0d" providerId="ADAL" clId="{E9747E21-FB8F-41B2-9611-03E3DAFA738F}" dt="2023-05-17T13:29:47.068" v="63"/>
          <ac:spMkLst>
            <pc:docMk/>
            <pc:sldMk cId="698066322" sldId="2147479291"/>
            <ac:spMk id="4" creationId="{648A14A7-0BA2-2DB9-91D7-366585198179}"/>
          </ac:spMkLst>
        </pc:spChg>
        <pc:spChg chg="add mod">
          <ac:chgData name="Barua, Anurag" userId="cabda745-45a9-4fb7-955c-303f4ee68d0d" providerId="ADAL" clId="{E9747E21-FB8F-41B2-9611-03E3DAFA738F}" dt="2023-05-17T13:30:08.945" v="64"/>
          <ac:spMkLst>
            <pc:docMk/>
            <pc:sldMk cId="698066322" sldId="2147479291"/>
            <ac:spMk id="5" creationId="{9356B235-851C-09AE-43DA-3635AFF19747}"/>
          </ac:spMkLst>
        </pc:spChg>
        <pc:spChg chg="add mod">
          <ac:chgData name="Barua, Anurag" userId="cabda745-45a9-4fb7-955c-303f4ee68d0d" providerId="ADAL" clId="{E9747E21-FB8F-41B2-9611-03E3DAFA738F}" dt="2023-06-02T17:39:07.719" v="701" actId="20577"/>
          <ac:spMkLst>
            <pc:docMk/>
            <pc:sldMk cId="698066322" sldId="2147479291"/>
            <ac:spMk id="6" creationId="{23A42202-C67E-1ED3-C956-AD7936B8E64C}"/>
          </ac:spMkLst>
        </pc:spChg>
        <pc:spChg chg="add mod">
          <ac:chgData name="Barua, Anurag" userId="cabda745-45a9-4fb7-955c-303f4ee68d0d" providerId="ADAL" clId="{E9747E21-FB8F-41B2-9611-03E3DAFA738F}" dt="2023-05-17T13:30:24.195" v="65"/>
          <ac:spMkLst>
            <pc:docMk/>
            <pc:sldMk cId="698066322" sldId="2147479291"/>
            <ac:spMk id="7" creationId="{0779F447-5541-4B1E-3D6C-11A3D09438C9}"/>
          </ac:spMkLst>
        </pc:spChg>
        <pc:spChg chg="del">
          <ac:chgData name="Barua, Anurag" userId="cabda745-45a9-4fb7-955c-303f4ee68d0d" providerId="ADAL" clId="{E9747E21-FB8F-41B2-9611-03E3DAFA738F}" dt="2023-05-17T13:29:33.509" v="62" actId="478"/>
          <ac:spMkLst>
            <pc:docMk/>
            <pc:sldMk cId="698066322" sldId="2147479291"/>
            <ac:spMk id="8" creationId="{DE1CD3E3-0165-4672-9367-EBC1BB256BC9}"/>
          </ac:spMkLst>
        </pc:spChg>
        <pc:picChg chg="add mod">
          <ac:chgData name="Barua, Anurag" userId="cabda745-45a9-4fb7-955c-303f4ee68d0d" providerId="ADAL" clId="{E9747E21-FB8F-41B2-9611-03E3DAFA738F}" dt="2023-05-17T13:30:51.731" v="67" actId="14100"/>
          <ac:picMkLst>
            <pc:docMk/>
            <pc:sldMk cId="698066322" sldId="2147479291"/>
            <ac:picMk id="2" creationId="{B0AFF0EE-FB80-B06B-51AE-3235ECD65EAC}"/>
          </ac:picMkLst>
        </pc:picChg>
      </pc:sldChg>
      <pc:sldChg chg="addSp delSp modSp add del mod">
        <pc:chgData name="Barua, Anurag" userId="cabda745-45a9-4fb7-955c-303f4ee68d0d" providerId="ADAL" clId="{E9747E21-FB8F-41B2-9611-03E3DAFA738F}" dt="2023-05-17T13:29:20.317" v="59"/>
        <pc:sldMkLst>
          <pc:docMk/>
          <pc:sldMk cId="1844035549" sldId="2147479291"/>
        </pc:sldMkLst>
        <pc:spChg chg="add del mod">
          <ac:chgData name="Barua, Anurag" userId="cabda745-45a9-4fb7-955c-303f4ee68d0d" providerId="ADAL" clId="{E9747E21-FB8F-41B2-9611-03E3DAFA738F}" dt="2023-05-17T13:29:12.693" v="56" actId="6549"/>
          <ac:spMkLst>
            <pc:docMk/>
            <pc:sldMk cId="1844035549" sldId="2147479291"/>
            <ac:spMk id="3" creationId="{586DA4DE-712F-81E3-5827-2D5545D8E20E}"/>
          </ac:spMkLst>
        </pc:spChg>
      </pc:sldChg>
      <pc:sldChg chg="addSp modSp add mod modNotes">
        <pc:chgData name="Barua, Anurag" userId="cabda745-45a9-4fb7-955c-303f4ee68d0d" providerId="ADAL" clId="{E9747E21-FB8F-41B2-9611-03E3DAFA738F}" dt="2023-05-17T17:19:18.183" v="224" actId="20577"/>
        <pc:sldMkLst>
          <pc:docMk/>
          <pc:sldMk cId="1726872394" sldId="2147479292"/>
        </pc:sldMkLst>
        <pc:spChg chg="add mod">
          <ac:chgData name="Barua, Anurag" userId="cabda745-45a9-4fb7-955c-303f4ee68d0d" providerId="ADAL" clId="{E9747E21-FB8F-41B2-9611-03E3DAFA738F}" dt="2023-05-17T17:15:28.078" v="117" actId="208"/>
          <ac:spMkLst>
            <pc:docMk/>
            <pc:sldMk cId="1726872394" sldId="2147479292"/>
            <ac:spMk id="2" creationId="{B5A6E087-CC12-6255-8F14-4C837DD1C2FD}"/>
          </ac:spMkLst>
        </pc:spChg>
        <pc:spChg chg="mod">
          <ac:chgData name="Barua, Anurag" userId="cabda745-45a9-4fb7-955c-303f4ee68d0d" providerId="ADAL" clId="{E9747E21-FB8F-41B2-9611-03E3DAFA738F}" dt="2023-05-17T17:19:18.183" v="224" actId="20577"/>
          <ac:spMkLst>
            <pc:docMk/>
            <pc:sldMk cId="1726872394" sldId="2147479292"/>
            <ac:spMk id="3" creationId="{08C3E437-E059-B44F-AC90-6808955B9B1B}"/>
          </ac:spMkLst>
        </pc:spChg>
        <pc:spChg chg="mod">
          <ac:chgData name="Barua, Anurag" userId="cabda745-45a9-4fb7-955c-303f4ee68d0d" providerId="ADAL" clId="{E9747E21-FB8F-41B2-9611-03E3DAFA738F}" dt="2023-05-17T15:59:32.556" v="111" actId="1076"/>
          <ac:spMkLst>
            <pc:docMk/>
            <pc:sldMk cId="1726872394" sldId="2147479292"/>
            <ac:spMk id="70" creationId="{8782FA5C-1307-408A-B86A-208E5FB420A3}"/>
          </ac:spMkLst>
        </pc:spChg>
      </pc:sldChg>
      <pc:sldChg chg="addSp delSp modSp add mod">
        <pc:chgData name="Barua, Anurag" userId="cabda745-45a9-4fb7-955c-303f4ee68d0d" providerId="ADAL" clId="{E9747E21-FB8F-41B2-9611-03E3DAFA738F}" dt="2023-05-17T17:32:29.455" v="364" actId="20577"/>
        <pc:sldMkLst>
          <pc:docMk/>
          <pc:sldMk cId="508264353" sldId="2147479293"/>
        </pc:sldMkLst>
        <pc:spChg chg="del">
          <ac:chgData name="Barua, Anurag" userId="cabda745-45a9-4fb7-955c-303f4ee68d0d" providerId="ADAL" clId="{E9747E21-FB8F-41B2-9611-03E3DAFA738F}" dt="2023-05-17T17:17:57.274" v="121" actId="478"/>
          <ac:spMkLst>
            <pc:docMk/>
            <pc:sldMk cId="508264353" sldId="2147479293"/>
            <ac:spMk id="2" creationId="{B5A6E087-CC12-6255-8F14-4C837DD1C2FD}"/>
          </ac:spMkLst>
        </pc:spChg>
        <pc:spChg chg="mod">
          <ac:chgData name="Barua, Anurag" userId="cabda745-45a9-4fb7-955c-303f4ee68d0d" providerId="ADAL" clId="{E9747E21-FB8F-41B2-9611-03E3DAFA738F}" dt="2023-05-17T17:32:29.455" v="364" actId="20577"/>
          <ac:spMkLst>
            <pc:docMk/>
            <pc:sldMk cId="508264353" sldId="2147479293"/>
            <ac:spMk id="3" creationId="{08C3E437-E059-B44F-AC90-6808955B9B1B}"/>
          </ac:spMkLst>
        </pc:spChg>
        <pc:spChg chg="del">
          <ac:chgData name="Barua, Anurag" userId="cabda745-45a9-4fb7-955c-303f4ee68d0d" providerId="ADAL" clId="{E9747E21-FB8F-41B2-9611-03E3DAFA738F}" dt="2023-05-17T17:18:00.570" v="122" actId="478"/>
          <ac:spMkLst>
            <pc:docMk/>
            <pc:sldMk cId="508264353" sldId="2147479293"/>
            <ac:spMk id="70" creationId="{8782FA5C-1307-408A-B86A-208E5FB420A3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71" creationId="{9FF051A6-B3AF-45D9-BD08-EA86E169C74D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72" creationId="{7B2496E3-045B-4419-9748-85F91E538A9E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97" creationId="{2D224E96-BA9F-4396-A666-249D17105E2F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98" creationId="{648CE70E-A4AA-4ABC-B881-9D414F4B54CC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99" creationId="{173ECEC5-42E7-4D7E-8D16-ADF09B249B07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100" creationId="{4A969E68-2A72-43A0-9FAF-0AD6CDA5F6DC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102" creationId="{F7D6CB00-2551-435C-BE04-81F4BCDF9B08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115" creationId="{D0A39E7D-0E34-47AC-8938-0F8F9B7704CD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116" creationId="{0F4F48C7-21A3-4E8E-BB27-76F73C10CC3C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61" creationId="{80282421-16D3-4EFA-AE97-B1A7319ED2D3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62" creationId="{E87A5C45-23F8-4D3B-85C3-AC09030C112C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63" creationId="{4CD8332A-DA27-4D40-A53D-1A6253271CD3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64" creationId="{346BD24D-CDD1-4BF4-B242-70A333B8EE97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65" creationId="{A6F5349F-5104-4FC4-A15D-BFAE5B90AD42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79" creationId="{BB24E5F8-8EAA-4860-B24B-96F683654A65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0" creationId="{CC7F8B18-6097-4152-8F6D-41324AD95543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1" creationId="{0F7CD6EB-6303-4331-A184-8A94064563D6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2" creationId="{DF42550D-BE7B-4D72-BE0F-0EBB75088886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3" creationId="{91ABA5B6-6C15-440A-8F58-ADBFADA38DBD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7" creationId="{CD6FC170-69ED-47BF-8293-6248159D8495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8" creationId="{97059D0F-6D6C-4C15-973B-6E19B1A4951E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89" creationId="{85403811-FEA2-4CFB-88C9-8489E5A6539A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0" creationId="{018F1B47-1E79-439E-9A5B-A18813576F80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1" creationId="{995B1EE2-BBBD-4826-8F9C-98E33C6021EA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5" creationId="{946DE7F1-E741-4346-AEB0-E92BEAE670AB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6" creationId="{D2FE3242-5B2B-4661-9A98-C71EC1D167FB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7" creationId="{E4CCE343-A72F-4910-A034-0E01C4A2CC57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8" creationId="{9D197BA9-EBE8-4B19-9F81-AF5867F26DEB}"/>
          </ac:spMkLst>
        </pc:spChg>
        <pc:spChg chg="del">
          <ac:chgData name="Barua, Anurag" userId="cabda745-45a9-4fb7-955c-303f4ee68d0d" providerId="ADAL" clId="{E9747E21-FB8F-41B2-9611-03E3DAFA738F}" dt="2023-05-17T17:17:54.087" v="120" actId="478"/>
          <ac:spMkLst>
            <pc:docMk/>
            <pc:sldMk cId="508264353" sldId="2147479293"/>
            <ac:spMk id="299" creationId="{9250BDC6-DB5A-4228-8F77-A805AA970B9F}"/>
          </ac:spMkLst>
        </pc:spChg>
        <pc:grpChg chg="del">
          <ac:chgData name="Barua, Anurag" userId="cabda745-45a9-4fb7-955c-303f4ee68d0d" providerId="ADAL" clId="{E9747E21-FB8F-41B2-9611-03E3DAFA738F}" dt="2023-05-17T17:17:54.087" v="120" actId="478"/>
          <ac:grpSpMkLst>
            <pc:docMk/>
            <pc:sldMk cId="508264353" sldId="2147479293"/>
            <ac:grpSpMk id="6" creationId="{5DBC205C-B9A1-442E-A5F3-C4E84E9B6A13}"/>
          </ac:grpSpMkLst>
        </pc:grpChg>
        <pc:grpChg chg="del">
          <ac:chgData name="Barua, Anurag" userId="cabda745-45a9-4fb7-955c-303f4ee68d0d" providerId="ADAL" clId="{E9747E21-FB8F-41B2-9611-03E3DAFA738F}" dt="2023-05-17T17:17:54.087" v="120" actId="478"/>
          <ac:grpSpMkLst>
            <pc:docMk/>
            <pc:sldMk cId="508264353" sldId="2147479293"/>
            <ac:grpSpMk id="217" creationId="{B157CDA8-8027-4F4B-917F-14CC9ED78908}"/>
          </ac:grpSpMkLst>
        </pc:grpChg>
        <pc:grpChg chg="del">
          <ac:chgData name="Barua, Anurag" userId="cabda745-45a9-4fb7-955c-303f4ee68d0d" providerId="ADAL" clId="{E9747E21-FB8F-41B2-9611-03E3DAFA738F}" dt="2023-05-17T17:17:54.087" v="120" actId="478"/>
          <ac:grpSpMkLst>
            <pc:docMk/>
            <pc:sldMk cId="508264353" sldId="2147479293"/>
            <ac:grpSpMk id="318" creationId="{8D1EDF66-98BA-42E4-8F67-A506B1AAD4C6}"/>
          </ac:grpSpMkLst>
        </pc:grpChg>
        <pc:grpChg chg="del">
          <ac:chgData name="Barua, Anurag" userId="cabda745-45a9-4fb7-955c-303f4ee68d0d" providerId="ADAL" clId="{E9747E21-FB8F-41B2-9611-03E3DAFA738F}" dt="2023-05-17T17:17:54.087" v="120" actId="478"/>
          <ac:grpSpMkLst>
            <pc:docMk/>
            <pc:sldMk cId="508264353" sldId="2147479293"/>
            <ac:grpSpMk id="321" creationId="{2D648223-DF8A-4018-AAD4-51A76B229B26}"/>
          </ac:grpSpMkLst>
        </pc:grpChg>
        <pc:grpChg chg="del">
          <ac:chgData name="Barua, Anurag" userId="cabda745-45a9-4fb7-955c-303f4ee68d0d" providerId="ADAL" clId="{E9747E21-FB8F-41B2-9611-03E3DAFA738F}" dt="2023-05-17T17:17:54.087" v="120" actId="478"/>
          <ac:grpSpMkLst>
            <pc:docMk/>
            <pc:sldMk cId="508264353" sldId="2147479293"/>
            <ac:grpSpMk id="324" creationId="{1D42B363-70FD-482C-8E30-691A3A5F1E48}"/>
          </ac:grpSpMkLst>
        </pc:grpChg>
        <pc:graphicFrameChg chg="add mod modGraphic">
          <ac:chgData name="Barua, Anurag" userId="cabda745-45a9-4fb7-955c-303f4ee68d0d" providerId="ADAL" clId="{E9747E21-FB8F-41B2-9611-03E3DAFA738F}" dt="2023-05-17T17:31:42.016" v="327" actId="108"/>
          <ac:graphicFrameMkLst>
            <pc:docMk/>
            <pc:sldMk cId="508264353" sldId="2147479293"/>
            <ac:graphicFrameMk id="10" creationId="{F4D4E49E-1620-00C4-C976-786582D596BB}"/>
          </ac:graphicFrameMkLst>
        </pc:graphicFrameChg>
        <pc:picChg chg="add mod">
          <ac:chgData name="Barua, Anurag" userId="cabda745-45a9-4fb7-955c-303f4ee68d0d" providerId="ADAL" clId="{E9747E21-FB8F-41B2-9611-03E3DAFA738F}" dt="2023-05-17T17:28:32.183" v="297" actId="1035"/>
          <ac:picMkLst>
            <pc:docMk/>
            <pc:sldMk cId="508264353" sldId="2147479293"/>
            <ac:picMk id="4" creationId="{992D8662-67B4-5AA4-76C6-0F0A00173635}"/>
          </ac:picMkLst>
        </pc:picChg>
        <pc:picChg chg="add mod">
          <ac:chgData name="Barua, Anurag" userId="cabda745-45a9-4fb7-955c-303f4ee68d0d" providerId="ADAL" clId="{E9747E21-FB8F-41B2-9611-03E3DAFA738F}" dt="2023-05-17T17:28:32.183" v="297" actId="1035"/>
          <ac:picMkLst>
            <pc:docMk/>
            <pc:sldMk cId="508264353" sldId="2147479293"/>
            <ac:picMk id="5" creationId="{172C2439-4958-5713-9FDD-7200D1F60B7A}"/>
          </ac:picMkLst>
        </pc:picChg>
        <pc:picChg chg="add mod">
          <ac:chgData name="Barua, Anurag" userId="cabda745-45a9-4fb7-955c-303f4ee68d0d" providerId="ADAL" clId="{E9747E21-FB8F-41B2-9611-03E3DAFA738F}" dt="2023-05-17T17:31:56.618" v="329" actId="1076"/>
          <ac:picMkLst>
            <pc:docMk/>
            <pc:sldMk cId="508264353" sldId="2147479293"/>
            <ac:picMk id="7" creationId="{FF3D329D-03B1-798F-6853-C25F3B47243D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8" creationId="{CEF99C0E-57D5-480A-95F1-25FCA7979B4B}"/>
          </ac:picMkLst>
        </pc:picChg>
        <pc:picChg chg="add mod">
          <ac:chgData name="Barua, Anurag" userId="cabda745-45a9-4fb7-955c-303f4ee68d0d" providerId="ADAL" clId="{E9747E21-FB8F-41B2-9611-03E3DAFA738F}" dt="2023-05-17T17:31:53.608" v="328" actId="1076"/>
          <ac:picMkLst>
            <pc:docMk/>
            <pc:sldMk cId="508264353" sldId="2147479293"/>
            <ac:picMk id="9" creationId="{BBD07BDF-5A2B-6E69-F42A-3B862E45D1DC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216" creationId="{C3BB429A-3094-4EB6-9F72-5561CB6D0DBE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218" creationId="{7A2F3303-E514-4861-A827-B5DFE6A46562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224" creationId="{AAE61117-858A-4C01-AEB5-A03A3B061330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286" creationId="{574C1593-05DA-4868-BC9E-B0ABC97B1097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308" creationId="{936B7E62-E39D-4136-AAA7-E4D7B6B6ED16}"/>
          </ac:picMkLst>
        </pc:picChg>
        <pc:picChg chg="del">
          <ac:chgData name="Barua, Anurag" userId="cabda745-45a9-4fb7-955c-303f4ee68d0d" providerId="ADAL" clId="{E9747E21-FB8F-41B2-9611-03E3DAFA738F}" dt="2023-05-17T17:17:54.087" v="120" actId="478"/>
          <ac:picMkLst>
            <pc:docMk/>
            <pc:sldMk cId="508264353" sldId="2147479293"/>
            <ac:picMk id="309" creationId="{6528DFE0-8339-4367-952A-4EE5475700B7}"/>
          </ac:picMkLst>
        </pc:pic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7" creationId="{2ED86164-69E3-4F46-BE18-6CC449FB7B48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20" creationId="{96DBF826-9643-4E9E-AAF4-A2801C30B9B0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21" creationId="{7D95807F-3E45-4A4B-A0B7-6C65CB8907E1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22" creationId="{C297DA7C-888E-4529-AD74-EECB6B9EC666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24" creationId="{4274218F-535C-41F5-A939-92B254DCC9FF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29" creationId="{EF0C1FF2-B933-4950-9327-4B3568A4CD6F}"/>
          </ac:cxnSpMkLst>
        </pc:cxnChg>
        <pc:cxnChg chg="del">
          <ac:chgData name="Barua, Anurag" userId="cabda745-45a9-4fb7-955c-303f4ee68d0d" providerId="ADAL" clId="{E9747E21-FB8F-41B2-9611-03E3DAFA738F}" dt="2023-05-17T17:17:54.087" v="120" actId="478"/>
          <ac:cxnSpMkLst>
            <pc:docMk/>
            <pc:sldMk cId="508264353" sldId="2147479293"/>
            <ac:cxnSpMk id="150" creationId="{31BA08C6-B8CE-47D6-A930-85007858B9C6}"/>
          </ac:cxnSpMkLst>
        </pc:cxnChg>
      </pc:sldChg>
      <pc:sldChg chg="modSp add mod">
        <pc:chgData name="Barua, Anurag" userId="cabda745-45a9-4fb7-955c-303f4ee68d0d" providerId="ADAL" clId="{E9747E21-FB8F-41B2-9611-03E3DAFA738F}" dt="2023-05-17T17:36:38.748" v="473" actId="1035"/>
        <pc:sldMkLst>
          <pc:docMk/>
          <pc:sldMk cId="445419358" sldId="2147479303"/>
        </pc:sldMkLst>
        <pc:spChg chg="mod">
          <ac:chgData name="Barua, Anurag" userId="cabda745-45a9-4fb7-955c-303f4ee68d0d" providerId="ADAL" clId="{E9747E21-FB8F-41B2-9611-03E3DAFA738F}" dt="2023-05-17T17:36:13.859" v="436" actId="20577"/>
          <ac:spMkLst>
            <pc:docMk/>
            <pc:sldMk cId="445419358" sldId="2147479303"/>
            <ac:spMk id="5" creationId="{44D29B28-4732-70E2-2068-9F9FEDBFCFB4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6" creationId="{DA59D29D-01AC-BB30-CE04-9C0844709FBC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7" creationId="{68A6B2C9-A96A-A71D-515B-1EBEE4E1D900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8" creationId="{A16DF21F-1B7B-E834-3327-D47B1761F647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9" creationId="{E59F8466-9082-7C5D-BA2B-ABA483709014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0" creationId="{E0D842B6-7C3E-244C-FA31-BC8FBF026C6B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1" creationId="{057101B6-8140-134A-7F36-8318708F247B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2" creationId="{0F06864B-5C89-47F6-48B4-7B68692D27F3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3" creationId="{8C28400F-0865-E249-35BF-2275F0B9A0F5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4" creationId="{E397CC23-ED87-AAEE-A375-7E83E6FE3569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5" creationId="{68887E6B-8AFE-9030-A120-903513ACE905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7" creationId="{669D65DF-FF01-797F-18A2-63A0ED7CBBB3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8" creationId="{5B769BE5-6B01-D1F9-787E-3A7F336EB1C3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19" creationId="{666D8212-8239-B102-A6FB-051A1FFAEDD0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1" creationId="{BADF87D5-64AA-7DFA-524C-552D5CC283F0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2" creationId="{EBDEA333-A00C-4AA7-F4E5-B22EB7DF35B9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3" creationId="{5FD5ECD1-FD04-9D8D-C22D-6EC548744EA5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4" creationId="{27A92B85-9043-4161-AB87-0931F38CDEC7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5" creationId="{28630760-7587-21A4-1294-F269CE3A95CB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28" creationId="{FE4AD629-5780-CDEE-09EE-D5303806E1F0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30" creationId="{F30A1953-8025-CF5D-0255-20AC724E8F2F}"/>
          </ac:spMkLst>
        </pc:spChg>
        <pc:spChg chg="mod">
          <ac:chgData name="Barua, Anurag" userId="cabda745-45a9-4fb7-955c-303f4ee68d0d" providerId="ADAL" clId="{E9747E21-FB8F-41B2-9611-03E3DAFA738F}" dt="2023-05-17T17:36:38.748" v="473" actId="1035"/>
          <ac:spMkLst>
            <pc:docMk/>
            <pc:sldMk cId="445419358" sldId="2147479303"/>
            <ac:spMk id="31" creationId="{B9F6E80A-43DE-2851-768F-B73320848074}"/>
          </ac:spMkLst>
        </pc:spChg>
        <pc:picChg chg="mod">
          <ac:chgData name="Barua, Anurag" userId="cabda745-45a9-4fb7-955c-303f4ee68d0d" providerId="ADAL" clId="{E9747E21-FB8F-41B2-9611-03E3DAFA738F}" dt="2023-05-17T17:36:38.748" v="473" actId="1035"/>
          <ac:picMkLst>
            <pc:docMk/>
            <pc:sldMk cId="445419358" sldId="2147479303"/>
            <ac:picMk id="26" creationId="{3DC72DDC-18CB-30A9-3AF0-1022572F017C}"/>
          </ac:picMkLst>
        </pc:picChg>
        <pc:picChg chg="mod">
          <ac:chgData name="Barua, Anurag" userId="cabda745-45a9-4fb7-955c-303f4ee68d0d" providerId="ADAL" clId="{E9747E21-FB8F-41B2-9611-03E3DAFA738F}" dt="2023-05-17T17:36:38.748" v="473" actId="1035"/>
          <ac:picMkLst>
            <pc:docMk/>
            <pc:sldMk cId="445419358" sldId="2147479303"/>
            <ac:picMk id="27" creationId="{4601952B-8978-1617-47D4-8BE936D67ABB}"/>
          </ac:picMkLst>
        </pc:picChg>
        <pc:picChg chg="mod">
          <ac:chgData name="Barua, Anurag" userId="cabda745-45a9-4fb7-955c-303f4ee68d0d" providerId="ADAL" clId="{E9747E21-FB8F-41B2-9611-03E3DAFA738F}" dt="2023-05-17T17:36:38.748" v="473" actId="1035"/>
          <ac:picMkLst>
            <pc:docMk/>
            <pc:sldMk cId="445419358" sldId="2147479303"/>
            <ac:picMk id="29" creationId="{76A9B751-F47D-3858-06D1-60C12EC3C07E}"/>
          </ac:picMkLst>
        </pc:picChg>
        <pc:cxnChg chg="mod">
          <ac:chgData name="Barua, Anurag" userId="cabda745-45a9-4fb7-955c-303f4ee68d0d" providerId="ADAL" clId="{E9747E21-FB8F-41B2-9611-03E3DAFA738F}" dt="2023-05-17T17:36:38.748" v="473" actId="1035"/>
          <ac:cxnSpMkLst>
            <pc:docMk/>
            <pc:sldMk cId="445419358" sldId="2147479303"/>
            <ac:cxnSpMk id="3" creationId="{F77C7143-451F-EBB2-9D36-3FC165A174A8}"/>
          </ac:cxnSpMkLst>
        </pc:cxnChg>
        <pc:cxnChg chg="mod">
          <ac:chgData name="Barua, Anurag" userId="cabda745-45a9-4fb7-955c-303f4ee68d0d" providerId="ADAL" clId="{E9747E21-FB8F-41B2-9611-03E3DAFA738F}" dt="2023-05-17T17:36:38.748" v="473" actId="1035"/>
          <ac:cxnSpMkLst>
            <pc:docMk/>
            <pc:sldMk cId="445419358" sldId="2147479303"/>
            <ac:cxnSpMk id="4" creationId="{B31CAE5A-E8E6-AF56-88B4-6113F96C8133}"/>
          </ac:cxnSpMkLst>
        </pc:cxnChg>
        <pc:cxnChg chg="mod">
          <ac:chgData name="Barua, Anurag" userId="cabda745-45a9-4fb7-955c-303f4ee68d0d" providerId="ADAL" clId="{E9747E21-FB8F-41B2-9611-03E3DAFA738F}" dt="2023-05-17T17:36:38.748" v="473" actId="1035"/>
          <ac:cxnSpMkLst>
            <pc:docMk/>
            <pc:sldMk cId="445419358" sldId="2147479303"/>
            <ac:cxnSpMk id="16" creationId="{57760548-4098-F797-7828-D801117F0BE0}"/>
          </ac:cxnSpMkLst>
        </pc:cxnChg>
        <pc:cxnChg chg="mod">
          <ac:chgData name="Barua, Anurag" userId="cabda745-45a9-4fb7-955c-303f4ee68d0d" providerId="ADAL" clId="{E9747E21-FB8F-41B2-9611-03E3DAFA738F}" dt="2023-05-17T17:36:38.748" v="473" actId="1035"/>
          <ac:cxnSpMkLst>
            <pc:docMk/>
            <pc:sldMk cId="445419358" sldId="2147479303"/>
            <ac:cxnSpMk id="20" creationId="{14095C42-0868-588B-FEF3-0B00288793B8}"/>
          </ac:cxnSpMkLst>
        </pc:cxnChg>
      </pc:sldChg>
    </pc:docChg>
  </pc:docChgLst>
  <pc:docChgLst>
    <pc:chgData name="Barua, Anurag" userId="cabda745-45a9-4fb7-955c-303f4ee68d0d" providerId="ADAL" clId="{73B2A500-279A-4BDA-BE47-154CB7D9E865}"/>
    <pc:docChg chg="undo custSel delSld modSld">
      <pc:chgData name="Barua, Anurag" userId="cabda745-45a9-4fb7-955c-303f4ee68d0d" providerId="ADAL" clId="{73B2A500-279A-4BDA-BE47-154CB7D9E865}" dt="2023-10-24T14:15:29.194" v="379" actId="20577"/>
      <pc:docMkLst>
        <pc:docMk/>
      </pc:docMkLst>
      <pc:sldChg chg="modSp mod">
        <pc:chgData name="Barua, Anurag" userId="cabda745-45a9-4fb7-955c-303f4ee68d0d" providerId="ADAL" clId="{73B2A500-279A-4BDA-BE47-154CB7D9E865}" dt="2023-10-24T14:13:01.770" v="376" actId="20577"/>
        <pc:sldMkLst>
          <pc:docMk/>
          <pc:sldMk cId="1196823299" sldId="307"/>
        </pc:sldMkLst>
        <pc:spChg chg="mod">
          <ac:chgData name="Barua, Anurag" userId="cabda745-45a9-4fb7-955c-303f4ee68d0d" providerId="ADAL" clId="{73B2A500-279A-4BDA-BE47-154CB7D9E865}" dt="2023-10-24T14:13:01.770" v="376" actId="20577"/>
          <ac:spMkLst>
            <pc:docMk/>
            <pc:sldMk cId="1196823299" sldId="307"/>
            <ac:spMk id="2" creationId="{BC75B72D-7602-A340-B17E-A920EB7E48B1}"/>
          </ac:spMkLst>
        </pc:spChg>
      </pc:sldChg>
      <pc:sldChg chg="modSp mod">
        <pc:chgData name="Barua, Anurag" userId="cabda745-45a9-4fb7-955c-303f4ee68d0d" providerId="ADAL" clId="{73B2A500-279A-4BDA-BE47-154CB7D9E865}" dt="2023-10-20T15:20:10.651" v="84" actId="20577"/>
        <pc:sldMkLst>
          <pc:docMk/>
          <pc:sldMk cId="2629129438" sldId="2146847429"/>
        </pc:sldMkLst>
        <pc:spChg chg="mod">
          <ac:chgData name="Barua, Anurag" userId="cabda745-45a9-4fb7-955c-303f4ee68d0d" providerId="ADAL" clId="{73B2A500-279A-4BDA-BE47-154CB7D9E865}" dt="2023-10-20T15:19:23.415" v="68" actId="1076"/>
          <ac:spMkLst>
            <pc:docMk/>
            <pc:sldMk cId="2629129438" sldId="2146847429"/>
            <ac:spMk id="3" creationId="{56428116-B6F6-C014-A86C-D6FE796F06AA}"/>
          </ac:spMkLst>
        </pc:spChg>
        <pc:spChg chg="mod">
          <ac:chgData name="Barua, Anurag" userId="cabda745-45a9-4fb7-955c-303f4ee68d0d" providerId="ADAL" clId="{73B2A500-279A-4BDA-BE47-154CB7D9E865}" dt="2023-10-20T15:20:10.651" v="84" actId="20577"/>
          <ac:spMkLst>
            <pc:docMk/>
            <pc:sldMk cId="2629129438" sldId="2146847429"/>
            <ac:spMk id="4" creationId="{8EE17C31-2462-BDB4-C582-E751C6A17422}"/>
          </ac:spMkLst>
        </pc:spChg>
      </pc:sldChg>
      <pc:sldChg chg="modSp mod">
        <pc:chgData name="Barua, Anurag" userId="cabda745-45a9-4fb7-955c-303f4ee68d0d" providerId="ADAL" clId="{73B2A500-279A-4BDA-BE47-154CB7D9E865}" dt="2023-10-20T15:25:32.788" v="158" actId="20577"/>
        <pc:sldMkLst>
          <pc:docMk/>
          <pc:sldMk cId="1450814610" sldId="2147376458"/>
        </pc:sldMkLst>
        <pc:spChg chg="mod">
          <ac:chgData name="Barua, Anurag" userId="cabda745-45a9-4fb7-955c-303f4ee68d0d" providerId="ADAL" clId="{73B2A500-279A-4BDA-BE47-154CB7D9E865}" dt="2023-10-20T15:25:32.788" v="158" actId="20577"/>
          <ac:spMkLst>
            <pc:docMk/>
            <pc:sldMk cId="1450814610" sldId="2147376458"/>
            <ac:spMk id="3" creationId="{D9E383BD-430A-40BB-9378-BC67F76053CA}"/>
          </ac:spMkLst>
        </pc:spChg>
      </pc:sldChg>
      <pc:sldChg chg="modSp del mod">
        <pc:chgData name="Barua, Anurag" userId="cabda745-45a9-4fb7-955c-303f4ee68d0d" providerId="ADAL" clId="{73B2A500-279A-4BDA-BE47-154CB7D9E865}" dt="2023-10-20T15:19:04.350" v="67" actId="47"/>
        <pc:sldMkLst>
          <pc:docMk/>
          <pc:sldMk cId="2760053729" sldId="2147376939"/>
        </pc:sldMkLst>
        <pc:graphicFrameChg chg="modGraphic">
          <ac:chgData name="Barua, Anurag" userId="cabda745-45a9-4fb7-955c-303f4ee68d0d" providerId="ADAL" clId="{73B2A500-279A-4BDA-BE47-154CB7D9E865}" dt="2023-10-20T15:18:44.067" v="66" actId="20577"/>
          <ac:graphicFrameMkLst>
            <pc:docMk/>
            <pc:sldMk cId="2760053729" sldId="2147376939"/>
            <ac:graphicFrameMk id="7" creationId="{7534E724-26CE-4A2E-AEA5-42F957248843}"/>
          </ac:graphicFrameMkLst>
        </pc:graphicFrameChg>
      </pc:sldChg>
      <pc:sldChg chg="addSp delSp modSp mod">
        <pc:chgData name="Barua, Anurag" userId="cabda745-45a9-4fb7-955c-303f4ee68d0d" providerId="ADAL" clId="{73B2A500-279A-4BDA-BE47-154CB7D9E865}" dt="2023-10-20T15:47:59.279" v="283" actId="1076"/>
        <pc:sldMkLst>
          <pc:docMk/>
          <pc:sldMk cId="3286268162" sldId="2147471390"/>
        </pc:sldMkLst>
        <pc:spChg chg="add mod">
          <ac:chgData name="Barua, Anurag" userId="cabda745-45a9-4fb7-955c-303f4ee68d0d" providerId="ADAL" clId="{73B2A500-279A-4BDA-BE47-154CB7D9E865}" dt="2023-10-20T15:45:17.857" v="180" actId="1076"/>
          <ac:spMkLst>
            <pc:docMk/>
            <pc:sldMk cId="3286268162" sldId="2147471390"/>
            <ac:spMk id="4" creationId="{B21A77B0-0494-6ABB-D578-D0DD42CDE2A5}"/>
          </ac:spMkLst>
        </pc:spChg>
        <pc:spChg chg="add mod">
          <ac:chgData name="Barua, Anurag" userId="cabda745-45a9-4fb7-955c-303f4ee68d0d" providerId="ADAL" clId="{73B2A500-279A-4BDA-BE47-154CB7D9E865}" dt="2023-10-20T15:46:49.791" v="280" actId="1076"/>
          <ac:spMkLst>
            <pc:docMk/>
            <pc:sldMk cId="3286268162" sldId="2147471390"/>
            <ac:spMk id="6" creationId="{391CA3E0-C941-B9F8-9830-3421A806ADA5}"/>
          </ac:spMkLst>
        </pc:spChg>
        <pc:spChg chg="mod">
          <ac:chgData name="Barua, Anurag" userId="cabda745-45a9-4fb7-955c-303f4ee68d0d" providerId="ADAL" clId="{73B2A500-279A-4BDA-BE47-154CB7D9E865}" dt="2023-10-20T15:47:59.279" v="283" actId="1076"/>
          <ac:spMkLst>
            <pc:docMk/>
            <pc:sldMk cId="3286268162" sldId="2147471390"/>
            <ac:spMk id="17" creationId="{8ED4FB8B-239C-4CD0-AB59-D608AF8E06F9}"/>
          </ac:spMkLst>
        </pc:spChg>
        <pc:picChg chg="add mod">
          <ac:chgData name="Barua, Anurag" userId="cabda745-45a9-4fb7-955c-303f4ee68d0d" providerId="ADAL" clId="{73B2A500-279A-4BDA-BE47-154CB7D9E865}" dt="2023-10-20T15:43:45.157" v="170" actId="1076"/>
          <ac:picMkLst>
            <pc:docMk/>
            <pc:sldMk cId="3286268162" sldId="2147471390"/>
            <ac:picMk id="2" creationId="{C2EA77F2-6DB3-073E-27A5-4EE3DB752E0B}"/>
          </ac:picMkLst>
        </pc:picChg>
        <pc:picChg chg="add mod">
          <ac:chgData name="Barua, Anurag" userId="cabda745-45a9-4fb7-955c-303f4ee68d0d" providerId="ADAL" clId="{73B2A500-279A-4BDA-BE47-154CB7D9E865}" dt="2023-10-20T15:46:26.641" v="278" actId="1076"/>
          <ac:picMkLst>
            <pc:docMk/>
            <pc:sldMk cId="3286268162" sldId="2147471390"/>
            <ac:picMk id="5" creationId="{0C736296-DC2C-1B3B-60E5-E911DF1BDB9E}"/>
          </ac:picMkLst>
        </pc:picChg>
        <pc:picChg chg="del">
          <ac:chgData name="Barua, Anurag" userId="cabda745-45a9-4fb7-955c-303f4ee68d0d" providerId="ADAL" clId="{73B2A500-279A-4BDA-BE47-154CB7D9E865}" dt="2023-10-20T15:43:32.942" v="168" actId="478"/>
          <ac:picMkLst>
            <pc:docMk/>
            <pc:sldMk cId="3286268162" sldId="2147471390"/>
            <ac:picMk id="8" creationId="{AC777AC8-016F-45B4-9946-A722E112C90D}"/>
          </ac:picMkLst>
        </pc:picChg>
        <pc:picChg chg="del">
          <ac:chgData name="Barua, Anurag" userId="cabda745-45a9-4fb7-955c-303f4ee68d0d" providerId="ADAL" clId="{73B2A500-279A-4BDA-BE47-154CB7D9E865}" dt="2023-10-20T15:45:52.885" v="181" actId="478"/>
          <ac:picMkLst>
            <pc:docMk/>
            <pc:sldMk cId="3286268162" sldId="2147471390"/>
            <ac:picMk id="25" creationId="{7F52F88F-67C9-4CC8-942D-8CF72E9438F6}"/>
          </ac:picMkLst>
        </pc:picChg>
      </pc:sldChg>
      <pc:sldChg chg="addSp delSp modSp mod">
        <pc:chgData name="Barua, Anurag" userId="cabda745-45a9-4fb7-955c-303f4ee68d0d" providerId="ADAL" clId="{73B2A500-279A-4BDA-BE47-154CB7D9E865}" dt="2023-10-24T14:15:29.194" v="379" actId="20577"/>
        <pc:sldMkLst>
          <pc:docMk/>
          <pc:sldMk cId="698066322" sldId="2147479291"/>
        </pc:sldMkLst>
        <pc:spChg chg="mod">
          <ac:chgData name="Barua, Anurag" userId="cabda745-45a9-4fb7-955c-303f4ee68d0d" providerId="ADAL" clId="{73B2A500-279A-4BDA-BE47-154CB7D9E865}" dt="2023-10-24T14:15:29.194" v="379" actId="20577"/>
          <ac:spMkLst>
            <pc:docMk/>
            <pc:sldMk cId="698066322" sldId="2147479291"/>
            <ac:spMk id="6" creationId="{23A42202-C67E-1ED3-C956-AD7936B8E64C}"/>
          </ac:spMkLst>
        </pc:spChg>
        <pc:spChg chg="add mod">
          <ac:chgData name="Barua, Anurag" userId="cabda745-45a9-4fb7-955c-303f4ee68d0d" providerId="ADAL" clId="{73B2A500-279A-4BDA-BE47-154CB7D9E865}" dt="2023-10-20T15:28:31.992" v="162" actId="1582"/>
          <ac:spMkLst>
            <pc:docMk/>
            <pc:sldMk cId="698066322" sldId="2147479291"/>
            <ac:spMk id="8" creationId="{89445B10-7D99-1444-4CC1-AB9B61086F37}"/>
          </ac:spMkLst>
        </pc:spChg>
        <pc:spChg chg="add del mod">
          <ac:chgData name="Barua, Anurag" userId="cabda745-45a9-4fb7-955c-303f4ee68d0d" providerId="ADAL" clId="{73B2A500-279A-4BDA-BE47-154CB7D9E865}" dt="2023-10-20T15:28:41.136" v="164"/>
          <ac:spMkLst>
            <pc:docMk/>
            <pc:sldMk cId="698066322" sldId="2147479291"/>
            <ac:spMk id="9" creationId="{16DFB35D-3B4A-9414-6817-946757ED1EED}"/>
          </ac:spMkLst>
        </pc:spChg>
        <pc:spChg chg="add del mod">
          <ac:chgData name="Barua, Anurag" userId="cabda745-45a9-4fb7-955c-303f4ee68d0d" providerId="ADAL" clId="{73B2A500-279A-4BDA-BE47-154CB7D9E865}" dt="2023-10-20T15:28:41.136" v="164"/>
          <ac:spMkLst>
            <pc:docMk/>
            <pc:sldMk cId="698066322" sldId="2147479291"/>
            <ac:spMk id="10" creationId="{4AE485F8-681F-4996-A403-788E5F78C7EC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2" creationId="{38B16561-5011-2EE3-B372-03037F895E9B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3" creationId="{49FAF4D5-E2F5-49A2-91A4-3035D01D897E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4" creationId="{0C8762AE-5150-A5B9-A99B-056F2B1C8B2F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6" creationId="{98F5C753-EF5D-DEC9-07D5-B2D06F2FA3AE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7" creationId="{AFB765E2-0E7B-268E-0191-B30883FCFCA1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18" creationId="{1B824A92-CFF6-D678-CE99-C2AC79E065B7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0" creationId="{B61DA5E3-8347-E2C1-A642-F6A98E65A693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1" creationId="{0457C0C9-C9E3-5F8F-7DB8-BA1FFA819A6B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2" creationId="{9964E4B3-8AD5-557F-557C-1A1C2D7F6726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5" creationId="{D4978A0F-A23C-A745-1C2D-D3E3A5F7E707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6" creationId="{071531F3-BE38-1184-2735-F9D09CD8DCE0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7" creationId="{9FA22C50-61E7-6A53-F051-E64C23B01B28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29" creationId="{64C6FD6B-CBAE-D350-A70E-ECD9E6AD356B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30" creationId="{C1435CF4-A7FC-22FE-083E-BA4A84D422D8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31" creationId="{BAE3013A-2E5B-FF55-9CE4-DBABC8E8C74C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33" creationId="{085B9921-E8F2-8E62-EF9D-16B58A9810B1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34" creationId="{A7DF726D-58EB-47D0-18D0-9EDF77CA2C10}"/>
          </ac:spMkLst>
        </pc:spChg>
        <pc:spChg chg="mod">
          <ac:chgData name="Barua, Anurag" userId="cabda745-45a9-4fb7-955c-303f4ee68d0d" providerId="ADAL" clId="{73B2A500-279A-4BDA-BE47-154CB7D9E865}" dt="2023-10-20T15:28:38.451" v="163"/>
          <ac:spMkLst>
            <pc:docMk/>
            <pc:sldMk cId="698066322" sldId="2147479291"/>
            <ac:spMk id="35" creationId="{DBB58851-0182-607B-0736-99F80268E784}"/>
          </ac:spMkLst>
        </pc:spChg>
        <pc:spChg chg="add mod">
          <ac:chgData name="Barua, Anurag" userId="cabda745-45a9-4fb7-955c-303f4ee68d0d" providerId="ADAL" clId="{73B2A500-279A-4BDA-BE47-154CB7D9E865}" dt="2023-10-20T15:29:03.935" v="167" actId="1582"/>
          <ac:spMkLst>
            <pc:docMk/>
            <pc:sldMk cId="698066322" sldId="2147479291"/>
            <ac:spMk id="36" creationId="{C3EFF583-CFBA-706C-14A7-2C2BE939A471}"/>
          </ac:spMkLst>
        </pc:s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11" creationId="{BAA847CC-C862-7B15-567E-E1EC23D41708}"/>
          </ac:grpSpMkLst>
        </pc:gr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15" creationId="{2776E6EC-A284-E512-3843-73AAACED06B5}"/>
          </ac:grpSpMkLst>
        </pc:gr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19" creationId="{DEC76D0D-BB30-8B6D-67F2-467034166174}"/>
          </ac:grpSpMkLst>
        </pc:gr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23" creationId="{6BF39CE5-4DF7-A46E-EA64-C36A533D826B}"/>
          </ac:grpSpMkLst>
        </pc:gr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28" creationId="{49813160-019E-C780-F94E-A827999A7EEE}"/>
          </ac:grpSpMkLst>
        </pc:grpChg>
        <pc:grpChg chg="add del mod">
          <ac:chgData name="Barua, Anurag" userId="cabda745-45a9-4fb7-955c-303f4ee68d0d" providerId="ADAL" clId="{73B2A500-279A-4BDA-BE47-154CB7D9E865}" dt="2023-10-20T15:28:41.136" v="164"/>
          <ac:grpSpMkLst>
            <pc:docMk/>
            <pc:sldMk cId="698066322" sldId="2147479291"/>
            <ac:grpSpMk id="32" creationId="{D6703BA1-88F7-2293-9DAB-4865530B94E5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31DA8C-F526-C74C-A1A9-5A2E60920ADF}" type="datetimeFigureOut">
              <a:rPr lang="en-US" smtClean="0"/>
              <a:t>12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49A2A-21B6-5649-80D9-F23F123781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277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5275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0E211A-E7C8-3341-BB53-CA32578356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3193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102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052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So we have seen how we can deliver new business models to drive revenues but it is also critical to control the bottom line with increased insight and efficiency</a:t>
            </a: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>
              <a:solidFill>
                <a:schemeClr val="tx1"/>
              </a:solidFill>
              <a:effectLst/>
            </a:endParaRP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We have a rich source of data running through the end to end processes and  we see it as critical to maximize the insight this can provide</a:t>
            </a: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>
              <a:solidFill>
                <a:schemeClr val="tx1"/>
              </a:solidFill>
              <a:effectLst/>
            </a:endParaRP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By embedding flexible insights that can provide context for making the right decisions which could be </a:t>
            </a:r>
          </a:p>
          <a:p>
            <a:pPr marL="285750" marR="0" indent="-28575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people related such as hiring decisions, ensuring compensation plans are on target, and successors are correctly identified</a:t>
            </a:r>
          </a:p>
          <a:p>
            <a:pPr marL="285750" marR="0" indent="-28575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or Real estate portfolio related to ensure that key assets are being optimized</a:t>
            </a:r>
          </a:p>
          <a:p>
            <a:pPr marL="285750" marR="0" indent="-28575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Or Service related to ensure maximum utilization and on target margins</a:t>
            </a: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>
              <a:solidFill>
                <a:schemeClr val="tx1"/>
              </a:solidFill>
              <a:effectLst/>
            </a:endParaRP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>
                <a:solidFill>
                  <a:schemeClr val="tx1"/>
                </a:solidFill>
                <a:effectLst/>
              </a:rPr>
              <a:t>This allows our customers to get instant insight and take action without navigating away from where you are working … And of course what is displayed is configurable to meet your specific requirements. </a:t>
            </a: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>
              <a:solidFill>
                <a:schemeClr val="tx1"/>
              </a:solidFill>
              <a:effectLst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</a:rPr>
              <a:t>We extend this further </a:t>
            </a:r>
            <a:r>
              <a:rPr lang="en-US" sz="1200" b="1"/>
              <a:t>with exception-based</a:t>
            </a:r>
            <a:r>
              <a:rPr lang="en-US" sz="1200"/>
              <a:t> through the </a:t>
            </a:r>
            <a:r>
              <a:rPr lang="en-GB" sz="14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</a:rPr>
              <a:t>collection of comprehensive analytical data on business situations to monitor and continuously improve business processes. 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</a:rPr>
              <a:t>S</a:t>
            </a:r>
            <a:r>
              <a:rPr lang="en-US" sz="1400" kern="1200">
                <a:solidFill>
                  <a:schemeClr val="tx1"/>
                </a:solidFill>
                <a:effectLst/>
              </a:rPr>
              <a:t>iutation handling which provides intelligent role based notifications for example the need to raise a bill based upon WIP levels or take action due to late delivery of a service. These are proactively pushed to the user in context to all</a:t>
            </a:r>
          </a:p>
          <a:p>
            <a:pPr marL="0" marR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>
              <a:solidFill>
                <a:schemeClr val="tx1"/>
              </a:solidFill>
              <a:effectLst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6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cs typeface="Arial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cs typeface="Arial"/>
              </a:rPr>
              <a:t>This can then be taken a step further where the exception automatically intelligently triggers an action via RAP and increasingly takes us towards the realisation of autonomous solutions.</a:t>
            </a:r>
            <a:endParaRPr lang="en-US" sz="1600">
              <a:cs typeface="Arial"/>
            </a:endParaRPr>
          </a:p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61731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pPr>
              <a:defRPr/>
            </a:pPr>
            <a:r>
              <a:rPr lang="en-US" sz="1200" b="0" i="1">
                <a:effectLst/>
                <a:latin typeface="inherit"/>
              </a:rPr>
              <a:t>Present this slide as conceptual presentation </a:t>
            </a:r>
            <a:r>
              <a:rPr lang="en-US" i="1">
                <a:latin typeface="inherit"/>
              </a:rPr>
              <a:t>of use-cases</a:t>
            </a:r>
            <a:r>
              <a:rPr lang="en-US" sz="1200" b="0" i="1">
                <a:effectLst/>
                <a:latin typeface="inherit"/>
              </a:rPr>
              <a:t> regardless of ERP vend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>
              <a:effectLst/>
              <a:latin typeface="inherit"/>
            </a:endParaRPr>
          </a:p>
          <a:p>
            <a:pPr>
              <a:spcBef>
                <a:spcPts val="200"/>
              </a:spcBef>
            </a:pPr>
            <a:r>
              <a:rPr lang="en-US" sz="1050" b="1">
                <a:solidFill>
                  <a:srgbClr val="008FD3"/>
                </a:solidFill>
                <a:cs typeface="Arial"/>
              </a:rPr>
              <a:t>What is Two-Tier ERP?</a:t>
            </a:r>
            <a:endParaRPr lang="en-US" sz="1100" b="1">
              <a:solidFill>
                <a:srgbClr val="008FD3"/>
              </a:solidFill>
              <a:cs typeface="Arial"/>
            </a:endParaRPr>
          </a:p>
          <a:p>
            <a:pPr algn="l" rtl="0" fontAlgn="base"/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 composable ERP strategy with different ERP systems at two different layers of the organization.</a:t>
            </a:r>
            <a:r>
              <a:rPr lang="en-US" sz="9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ne system serves a given function (e.g. HQ) </a:t>
            </a:r>
            <a:r>
              <a:rPr lang="en-GB" sz="9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 a stable backbone </a:t>
            </a:r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hile the 2nd layer run on </a:t>
            </a:r>
            <a:r>
              <a:rPr lang="en-GB" sz="9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ependent (often integrated) ERP system/s </a:t>
            </a:r>
            <a:endParaRPr lang="en-US" sz="900" b="1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>
              <a:effectLst/>
              <a:latin typeface="inheri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>
                <a:effectLst/>
                <a:latin typeface="inherit"/>
              </a:rPr>
              <a:t>It’s usually a hybrid strategy but I prefer not to get them confused.  Hybrid refers to different IT deployments, like </a:t>
            </a:r>
            <a:r>
              <a:rPr lang="en-US" sz="900" b="0" i="0" err="1">
                <a:effectLst/>
                <a:latin typeface="inherit"/>
              </a:rPr>
              <a:t>Onprem</a:t>
            </a:r>
            <a:r>
              <a:rPr lang="en-US" sz="900" b="0" i="0">
                <a:effectLst/>
                <a:latin typeface="inherit"/>
              </a:rPr>
              <a:t> ECC with SaaS salesforce.com.  Here we are talking about specifically ERP to ERP use cas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>
              <a:effectLst/>
              <a:latin typeface="inherit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/>
              <a:t>Acquisitions.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nies who are expanding their product/service portfolio or geographic reach by acquiring other companies. These are typically high growth companies or larger companies in industries with M&amp;A activity. </a:t>
            </a: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quickly onboard the company post-acquisition without destabilizing </a:t>
            </a: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>
              <a:cs typeface="Calibri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cs typeface="Calibri"/>
              </a:rPr>
              <a:t>Subsidiarie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ions that have a portfolio of established subsidiaries, often running a disparate set of ERP solutions. (focus for </a:t>
            </a:r>
            <a:r>
              <a:rPr lang="en-US" sz="120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tsuite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Dynamics)  .  Their challenge is to reduce the cost of managing multiple disparate ERP solutions, while gaining better visibility into their performance. </a:t>
            </a: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>
              <a:cs typeface="Calibri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Divestiture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ions may need to rationalize their company portfolio either due to cost cutting measures or increased focus on the core business.  They do this by selling off non-strategic divisions .</a:t>
            </a:r>
          </a:p>
          <a:p>
            <a:pPr marL="0" indent="0" algn="l">
              <a:spcBef>
                <a:spcPts val="200"/>
              </a:spcBef>
              <a:buFont typeface="Arial" panose="020B0604020202020204" pitchFamily="34" charset="0"/>
              <a:buNone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quickly carve out the divestiture without jeopardizing the stability and creating an attractive acquisitions target for prospective buyers, while minimizing the investment.</a:t>
            </a:r>
          </a:p>
          <a:p>
            <a:pPr marL="0" indent="0" algn="l">
              <a:buFont typeface="Arial" panose="020B0604020202020204" pitchFamily="34" charset="0"/>
              <a:buNone/>
            </a:pPr>
            <a:endParaRPr lang="en-US" sz="1800">
              <a:cs typeface="Calibri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Incubation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nies that are entering a new business may setup a new entity separate from their own to allow them to be more nimble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structure may be a JV, and long-term ownership may not be determined.</a:t>
            </a: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create an environment where the incubated entity can experiment and govern itself. </a:t>
            </a:r>
          </a:p>
          <a:p>
            <a:pPr marL="0" indent="0" algn="l">
              <a:buFont typeface="Arial" panose="020B0604020202020204" pitchFamily="34" charset="0"/>
              <a:buNone/>
            </a:pPr>
            <a:endParaRPr lang="en-US" sz="1800">
              <a:cs typeface="Calibri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Autonomous division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sions of a company which manage a different business process or business model.  This may be a shared service like a field service or finance division which is not necessarily a separate legal entity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provide an environment where the entity has the flexibility to define new processes, which can be integrated to corporate but not governed by corporate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ggards:  Fallen behind.  Maybe smaller, May be dormant.  Move to provide cloud may be a big step.  Looking at greenfield.  Why not go public </a:t>
            </a:r>
            <a:r>
              <a:rPr lang="en-US" sz="1200" kern="1200" noProof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uld</a:t>
            </a: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move from laggard to leader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ovators:  Pushing us.  Looking at true SaaS.  We are competing with Workday, maybe oracle.  Only accept SaaS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O knows exactly what they wa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930F6A-F92D-40C8-9291-FA075DDA549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3065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pPr>
              <a:defRPr/>
            </a:pPr>
            <a:r>
              <a:rPr lang="en-US" sz="1200" b="0" i="1">
                <a:effectLst/>
                <a:latin typeface="inherit"/>
              </a:rPr>
              <a:t>Present this slide as conceptual presentation </a:t>
            </a:r>
            <a:r>
              <a:rPr lang="en-US" i="1">
                <a:latin typeface="inherit"/>
              </a:rPr>
              <a:t>of use-cases</a:t>
            </a:r>
            <a:r>
              <a:rPr lang="en-US" sz="1200" b="0" i="1">
                <a:effectLst/>
                <a:latin typeface="inherit"/>
              </a:rPr>
              <a:t> regardless of ERP vend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>
              <a:effectLst/>
              <a:latin typeface="inherit"/>
            </a:endParaRPr>
          </a:p>
          <a:p>
            <a:pPr>
              <a:spcBef>
                <a:spcPts val="200"/>
              </a:spcBef>
            </a:pPr>
            <a:r>
              <a:rPr lang="en-US" sz="1050" b="1">
                <a:solidFill>
                  <a:srgbClr val="008FD3"/>
                </a:solidFill>
                <a:cs typeface="Arial"/>
              </a:rPr>
              <a:t>What is Two-Tier ERP?</a:t>
            </a:r>
            <a:endParaRPr lang="en-US" sz="1100" b="1">
              <a:solidFill>
                <a:srgbClr val="008FD3"/>
              </a:solidFill>
              <a:cs typeface="Arial"/>
            </a:endParaRPr>
          </a:p>
          <a:p>
            <a:pPr algn="l" rtl="0" fontAlgn="base"/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 composable ERP strategy with different ERP systems at two different layers of the organization.</a:t>
            </a:r>
            <a:r>
              <a:rPr lang="en-US" sz="9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ne system serves a given function (e.g. HQ) </a:t>
            </a:r>
            <a:r>
              <a:rPr lang="en-GB" sz="9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s a stable backbone </a:t>
            </a:r>
            <a:r>
              <a:rPr lang="en-GB" sz="9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hile the 2nd layer run on </a:t>
            </a:r>
            <a:r>
              <a:rPr lang="en-GB" sz="900" b="1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dependent (often integrated) ERP system/s </a:t>
            </a:r>
            <a:endParaRPr lang="en-US" sz="900" b="1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>
              <a:effectLst/>
              <a:latin typeface="inheri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>
                <a:effectLst/>
                <a:latin typeface="inherit"/>
              </a:rPr>
              <a:t>It’s usually a hybrid strategy but I prefer not to get them confused.  Hybrid refers to different IT deployments, like </a:t>
            </a:r>
            <a:r>
              <a:rPr lang="en-US" sz="900" b="0" i="0" err="1">
                <a:effectLst/>
                <a:latin typeface="inherit"/>
              </a:rPr>
              <a:t>Onprem</a:t>
            </a:r>
            <a:r>
              <a:rPr lang="en-US" sz="900" b="0" i="0">
                <a:effectLst/>
                <a:latin typeface="inherit"/>
              </a:rPr>
              <a:t> ECC with SaaS salesforce.com.  Here we are talking about specifically ERP to ERP use case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0">
              <a:effectLst/>
              <a:latin typeface="inherit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/>
              <a:t>Acquisitions.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nies who are expanding their product/service portfolio or geographic reach by acquiring other companies. These are typically high growth companies or larger companies in industries with M&amp;A activity. </a:t>
            </a: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quickly onboard the company post-acquisition without destabilizing </a:t>
            </a:r>
            <a:endParaRPr lang="en-US" sz="1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>
              <a:cs typeface="Calibri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cs typeface="Calibri"/>
              </a:rPr>
              <a:t>Subsidiarie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ions that have a portfolio of established subsidiaries, often running a disparate set of ERP solutions. (focus for </a:t>
            </a:r>
            <a:r>
              <a:rPr lang="en-US" sz="120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tsuite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Dynamics)  .  Their challenge is to reduce the cost of managing multiple disparate ERP solutions, while gaining better visibility into their performance. </a:t>
            </a: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>
              <a:cs typeface="Calibri"/>
            </a:endParaRP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Divestiture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ions may need to rationalize their company portfolio either due to cost cutting measures or increased focus on the core business.  They do this by selling off non-strategic divisions .</a:t>
            </a:r>
          </a:p>
          <a:p>
            <a:pPr marL="0" indent="0" algn="l">
              <a:spcBef>
                <a:spcPts val="200"/>
              </a:spcBef>
              <a:buFont typeface="Arial" panose="020B0604020202020204" pitchFamily="34" charset="0"/>
              <a:buNone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quickly carve out the divestiture without jeopardizing the stability and creating an attractive acquisitions target for prospective buyers, while minimizing the investment.</a:t>
            </a:r>
          </a:p>
          <a:p>
            <a:pPr marL="0" indent="0" algn="l">
              <a:buFont typeface="Arial" panose="020B0604020202020204" pitchFamily="34" charset="0"/>
              <a:buNone/>
            </a:pPr>
            <a:endParaRPr lang="en-US" sz="1800">
              <a:cs typeface="Calibri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Incubation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mpanies that are entering a new business may setup a new entity separate from their own to allow them to be more nimble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structure may be a JV, and long-term ownership may not be determined.</a:t>
            </a: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create an environment where the incubated entity can experiment and govern itself. </a:t>
            </a:r>
          </a:p>
          <a:p>
            <a:pPr marL="0" indent="0" algn="l">
              <a:buFont typeface="Arial" panose="020B0604020202020204" pitchFamily="34" charset="0"/>
              <a:buNone/>
            </a:pPr>
            <a:endParaRPr lang="en-US" sz="1800">
              <a:cs typeface="Calibri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>
                <a:cs typeface="Calibri"/>
              </a:rPr>
              <a:t>Autonomous divisions -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visions of a company which manage a different business process or business model.  This may be a shared service like a field service or finance division which is not necessarily a separate legal entity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ir challenge is to provide an environment where the entity has the flexibility to define new processes, which can be integrated to corporate but not governed by corporate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ggards:  Fallen behind.  Maybe smaller, May be dormant.  Move to provide cloud may be a big step.  Looking at greenfield.  Why not go public </a:t>
            </a:r>
            <a:r>
              <a:rPr lang="en-US" sz="1200" kern="1200" noProof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ould</a:t>
            </a: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move from laggard to leader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novators:  Pushing us.  Looking at true SaaS.  We are competing with Workday, maybe oracle.  Only accept SaaS.</a:t>
            </a:r>
          </a:p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O knows exactly what they wa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930F6A-F92D-40C8-9291-FA075DDA549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657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1206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4960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07630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59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0126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98384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8071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070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7292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1706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6043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3245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  <a:p>
            <a:r>
              <a:rPr lang="en-US"/>
              <a:t>Functional differentiation is delivered the business process and industry-specific levels.  </a:t>
            </a:r>
          </a:p>
          <a:p>
            <a:endParaRPr lang="en-US"/>
          </a:p>
          <a:p>
            <a:pPr marL="0" marR="0" lvl="0" indent="0" algn="l" defTabSz="14521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Finance-Led ERP, also called Administrative ERP, is the core </a:t>
            </a:r>
            <a:r>
              <a:rPr lang="en-US" err="1"/>
              <a:t>backoffice</a:t>
            </a:r>
            <a:r>
              <a:rPr lang="en-US"/>
              <a:t> ERP solution that can be run in virtually any industries (with a few highly regulated industries like Healthcare being the exception).  This solution plugs into a customers middle-office and front-office solution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349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  <a:p>
            <a:r>
              <a:rPr lang="en-US"/>
              <a:t>Functional differentiation is delivered the business process and industry-specific levels.  </a:t>
            </a:r>
          </a:p>
          <a:p>
            <a:endParaRPr lang="en-US"/>
          </a:p>
          <a:p>
            <a:r>
              <a:rPr lang="en-US"/>
              <a:t>Service-Centric Industries are supported by all the Finance-Led ERP capabilities, PLUS they add on key operational capabilities such as the customer project lifecycle, contract-based services, subscription management (via an integrated SAP cloud “Subscription Billing” solution), Solution Order Management, Funds Management for public-sector and Higher Education segments, Banking-specific financials for insurance and banking segment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6575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  <a:p>
            <a:r>
              <a:rPr lang="en-US"/>
              <a:t>Functional differentiation is delivered the business process and industry-specific levels.  </a:t>
            </a:r>
          </a:p>
          <a:p>
            <a:endParaRPr lang="en-US"/>
          </a:p>
          <a:p>
            <a:r>
              <a:rPr lang="en-US"/>
              <a:t>Product-Centric industries are supported by manufacturing processes supporting Make-to-Stock, Assemble-to-Order, and Engineer-to-Order applicable for Automotive Suppliers, Industrial Machinery, Mill </a:t>
            </a:r>
            <a:r>
              <a:rPr lang="en-US" err="1"/>
              <a:t>Disrete</a:t>
            </a:r>
            <a:r>
              <a:rPr lang="en-US"/>
              <a:t> and High Tech supplier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4582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B1B5EA-D41A-3B46-8DE2-2CA3B6744266}"/>
              </a:ext>
            </a:extLst>
          </p:cNvPr>
          <p:cNvSpPr txBox="1">
            <a:spLocks/>
          </p:cNvSpPr>
          <p:nvPr userDrawn="1"/>
        </p:nvSpPr>
        <p:spPr>
          <a:xfrm>
            <a:off x="1069572" y="1632923"/>
            <a:ext cx="5151120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  <a:br>
              <a:rPr lang="en-US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6D97A2-10F5-3746-9659-58BBFE3B65A6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</a:t>
            </a:r>
            <a:fld id="{F1D65528-6588-D84B-9B55-38F60EB7C7FC}" type="datetimeyyyy">
              <a:rPr lang="en-US" sz="900" smtClean="0">
                <a:latin typeface="Proxima Nova Light" panose="02000506030000020004" pitchFamily="2" charset="0"/>
              </a:rPr>
              <a:t>2023</a:t>
            </a:fld>
            <a:r>
              <a:rPr lang="en-US" sz="900" dirty="0">
                <a:latin typeface="Proxima Nova Light" panose="02000506030000020004" pitchFamily="2" charset="0"/>
              </a:rPr>
              <a:t> ASUG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3869" y="1620003"/>
            <a:ext cx="11182288" cy="1596803"/>
          </a:xfrm>
          <a:noFill/>
        </p:spPr>
        <p:txBody>
          <a:bodyPr tIns="1368000"/>
          <a:lstStyle>
            <a:lvl1pPr algn="ctr">
              <a:defRPr sz="1399" b="0"/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676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admap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9A90EB-45C3-40E3-B6AC-E32F309284A4}"/>
              </a:ext>
            </a:extLst>
          </p:cNvPr>
          <p:cNvSpPr txBox="1"/>
          <p:nvPr userDrawn="1"/>
        </p:nvSpPr>
        <p:spPr>
          <a:xfrm flipH="1">
            <a:off x="583399" y="6562625"/>
            <a:ext cx="182834" cy="923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de-DE" sz="600" kern="0" dirty="0">
                <a:ea typeface="Arial Unicode MS" pitchFamily="34" charset="-128"/>
                <a:cs typeface="Arial Unicode MS" pitchFamily="34" charset="-128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021569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2457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0896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944D604-ED90-7343-AB07-E6CBB9C7C811}"/>
              </a:ext>
            </a:extLst>
          </p:cNvPr>
          <p:cNvSpPr txBox="1">
            <a:spLocks/>
          </p:cNvSpPr>
          <p:nvPr userDrawn="1"/>
        </p:nvSpPr>
        <p:spPr>
          <a:xfrm>
            <a:off x="1069572" y="1632923"/>
            <a:ext cx="5151120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.</a:t>
            </a:r>
            <a:endParaRPr lang="en-US" sz="3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44BC8D-2352-EC43-AC4C-BE0AFE5B04D7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</a:t>
            </a:r>
            <a:fld id="{F1D65528-6588-D84B-9B55-38F60EB7C7FC}" type="datetimeyyyy">
              <a:rPr lang="en-US" sz="900" smtClean="0">
                <a:latin typeface="Proxima Nova Light" panose="02000506030000020004" pitchFamily="2" charset="0"/>
              </a:rPr>
              <a:pPr/>
              <a:t>2023</a:t>
            </a:fld>
            <a:r>
              <a:rPr lang="en-US" sz="900" dirty="0">
                <a:latin typeface="Proxima Nova Light" panose="02000506030000020004" pitchFamily="2" charset="0"/>
              </a:rPr>
              <a:t> ASUG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045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6688F-0FE2-47E1-AE39-26AF1A9853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913FC9-2610-4710-89AE-5809E18F5D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0508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135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557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327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3564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1"/>
            <a:ext cx="11183564" cy="369332"/>
          </a:xfrm>
        </p:spPr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498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620000"/>
            <a:ext cx="11183564" cy="47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3" cy="369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1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emf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64BAF9-EE13-7C4D-B78B-08A5939CFA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E0767A-AEC1-5843-8D8A-1CFA4F4FAF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9678010" y="6049504"/>
            <a:ext cx="2176018" cy="647661"/>
          </a:xfrm>
          <a:prstGeom prst="rect">
            <a:avLst/>
          </a:prstGeom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79" r:id="rId3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A90533"/>
          </a:solidFill>
          <a:effectLst/>
          <a:latin typeface="Benton Sans" panose="02000504020000020004" pitchFamily="2" charset="77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bg1"/>
          </a:solidFill>
          <a:latin typeface="Proxima Nova Rg" panose="02000506030000020004" pitchFamily="2" charset="0"/>
          <a:ea typeface="+mn-ea"/>
          <a:cs typeface="Arial" panose="020B0604020202020204" pitchFamily="34" charset="0"/>
        </a:defRPr>
      </a:lvl1pPr>
      <a:lvl2pPr marL="4572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600" kern="1200">
          <a:solidFill>
            <a:schemeClr val="bg1"/>
          </a:solidFill>
          <a:latin typeface="Proxima Nova Rg" panose="02000506030000020004" pitchFamily="2" charset="0"/>
          <a:ea typeface="+mn-ea"/>
          <a:cs typeface="Arial" panose="020B0604020202020204" pitchFamily="34" charset="0"/>
        </a:defRPr>
      </a:lvl2pPr>
      <a:lvl3pPr marL="9144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400" kern="1200">
          <a:solidFill>
            <a:schemeClr val="bg1"/>
          </a:solidFill>
          <a:latin typeface="Proxima Nova Rg" panose="02000506030000020004" pitchFamily="2" charset="0"/>
          <a:ea typeface="+mn-ea"/>
          <a:cs typeface="Arial" panose="020B0604020202020204" pitchFamily="34" charset="0"/>
        </a:defRPr>
      </a:lvl3pPr>
      <a:lvl4pPr marL="13716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 Rg" panose="02000506030000020004" pitchFamily="2" charset="0"/>
          <a:ea typeface="+mn-ea"/>
          <a:cs typeface="Arial" panose="020B0604020202020204" pitchFamily="34" charset="0"/>
        </a:defRPr>
      </a:lvl4pPr>
      <a:lvl5pPr marL="18288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 Rg" panose="02000506030000020004" pitchFamily="2" charset="0"/>
          <a:ea typeface="+mn-ea"/>
          <a:cs typeface="Arial" panose="020B0604020202020204" pitchFamily="34" charset="0"/>
        </a:defRPr>
      </a:lvl5pPr>
      <a:lvl6pPr marL="24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AA08D2-9752-5B42-9EDE-75281CB0F66C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D1C67-BCB4-7448-8A22-0DCA98527FB2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</a:t>
            </a:r>
            <a:fld id="{ECF465D9-24E5-FB4E-8FF9-0086A3FB9590}" type="datetimeyyyy">
              <a:rPr lang="en-US" sz="900" smtClean="0">
                <a:latin typeface="Proxima Nova Light" panose="02000506030000020004" pitchFamily="2" charset="0"/>
              </a:rPr>
              <a:t>2023</a:t>
            </a:fld>
            <a:r>
              <a:rPr lang="en-US" sz="900" dirty="0">
                <a:latin typeface="Proxima Nova Light" panose="02000506030000020004" pitchFamily="2" charset="0"/>
              </a:rPr>
              <a:t> ASUG</a:t>
            </a:r>
          </a:p>
        </p:txBody>
      </p:sp>
      <p:pic>
        <p:nvPicPr>
          <p:cNvPr id="8" name="Picture 7" descr="A picture containing wheel&#10;&#10;Description automatically generated">
            <a:extLst>
              <a:ext uri="{FF2B5EF4-FFF2-40B4-BE49-F238E27FC236}">
                <a16:creationId xmlns:a16="http://schemas.microsoft.com/office/drawing/2014/main" id="{22389D0F-BFAA-974C-A589-E7F941EBD6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220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A6992CD-4FAD-2746-8648-B1A6F9082B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002A6F-3739-F24A-A7E3-2FAEF601B2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A56488F-B8C1-494E-AE06-667C5EA38219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‹#›    © 2022 ASUG</a:t>
            </a:r>
          </a:p>
        </p:txBody>
      </p:sp>
    </p:spTree>
    <p:extLst>
      <p:ext uri="{BB962C8B-B14F-4D97-AF65-F5344CB8AC3E}">
        <p14:creationId xmlns:p14="http://schemas.microsoft.com/office/powerpoint/2010/main" val="1863066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025364D-7DA5-D540-9938-478CABC7C30D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1C087E-4EC5-EF40-9776-99BC7B548B35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</a:t>
            </a:r>
            <a:fld id="{EFC9EA19-CF19-6149-BD73-EEC0986897C9}" type="datetimeyyyy">
              <a:rPr lang="en-US" sz="900" smtClean="0">
                <a:latin typeface="Proxima Nova Light" panose="02000506030000020004" pitchFamily="2" charset="0"/>
              </a:rPr>
              <a:t>2023</a:t>
            </a:fld>
            <a:r>
              <a:rPr lang="en-US" sz="900" dirty="0">
                <a:latin typeface="Proxima Nova Light" panose="02000506030000020004" pitchFamily="2" charset="0"/>
              </a:rPr>
              <a:t> ASUG</a:t>
            </a:r>
          </a:p>
        </p:txBody>
      </p:sp>
      <p:pic>
        <p:nvPicPr>
          <p:cNvPr id="5" name="Picture 4" descr="A picture containing wheel&#10;&#10;Description automatically generated">
            <a:extLst>
              <a:ext uri="{FF2B5EF4-FFF2-40B4-BE49-F238E27FC236}">
                <a16:creationId xmlns:a16="http://schemas.microsoft.com/office/drawing/2014/main" id="{0546DD02-4B36-3D4B-AA14-54BD2C65684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364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94" r:id="rId3"/>
    <p:sldLayoutId id="2147483695" r:id="rId4"/>
    <p:sldLayoutId id="2147483696" r:id="rId5"/>
    <p:sldLayoutId id="2147483697" r:id="rId6"/>
    <p:sldLayoutId id="214748369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CFBCEC-A737-EE4B-BF4C-2E3013F166F4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4A98C5-7536-F842-BD38-7584EAE001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40145" y="6251187"/>
            <a:ext cx="1083983" cy="39315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76F3E2-5ED3-6242-B909-07C61C9BF2F9}"/>
              </a:ext>
            </a:extLst>
          </p:cNvPr>
          <p:cNvSpPr/>
          <p:nvPr userDrawn="1"/>
        </p:nvSpPr>
        <p:spPr>
          <a:xfrm>
            <a:off x="0" y="1465695"/>
            <a:ext cx="5936876" cy="2238935"/>
          </a:xfrm>
          <a:prstGeom prst="rect">
            <a:avLst/>
          </a:prstGeom>
          <a:gradFill flip="none" rotWithShape="1">
            <a:gsLst>
              <a:gs pos="0">
                <a:srgbClr val="FF4E00"/>
              </a:gs>
              <a:gs pos="100000">
                <a:srgbClr val="FF8E3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58B719-5720-9C4C-86E1-1915A6318580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</a:t>
            </a:r>
            <a:fld id="{EFC9EA19-CF19-6149-BD73-EEC0986897C9}" type="datetimeyyyy">
              <a:rPr lang="en-US" sz="900" smtClean="0">
                <a:latin typeface="Proxima Nova Light" panose="02000506030000020004" pitchFamily="2" charset="0"/>
              </a:rPr>
              <a:pPr/>
              <a:t>2023</a:t>
            </a:fld>
            <a:r>
              <a:rPr lang="en-US" sz="900" dirty="0">
                <a:latin typeface="Proxima Nova Light" panose="02000506030000020004" pitchFamily="2" charset="0"/>
              </a:rPr>
              <a:t> ASUG</a:t>
            </a:r>
          </a:p>
        </p:txBody>
      </p:sp>
    </p:spTree>
    <p:extLst>
      <p:ext uri="{BB962C8B-B14F-4D97-AF65-F5344CB8AC3E}">
        <p14:creationId xmlns:p14="http://schemas.microsoft.com/office/powerpoint/2010/main" val="1699165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54.png"/><Relationship Id="rId5" Type="http://schemas.openxmlformats.org/officeDocument/2006/relationships/image" Target="../media/image27.png"/><Relationship Id="rId15" Type="http://schemas.openxmlformats.org/officeDocument/2006/relationships/image" Target="../media/image58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43.png"/><Relationship Id="rId18" Type="http://schemas.openxmlformats.org/officeDocument/2006/relationships/image" Target="../media/image64.png"/><Relationship Id="rId3" Type="http://schemas.openxmlformats.org/officeDocument/2006/relationships/image" Target="../media/image40.png"/><Relationship Id="rId21" Type="http://schemas.openxmlformats.org/officeDocument/2006/relationships/image" Target="../media/image49.png"/><Relationship Id="rId7" Type="http://schemas.openxmlformats.org/officeDocument/2006/relationships/image" Target="../media/image41.png"/><Relationship Id="rId12" Type="http://schemas.openxmlformats.org/officeDocument/2006/relationships/image" Target="../media/image42.png"/><Relationship Id="rId17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2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11" Type="http://schemas.openxmlformats.org/officeDocument/2006/relationships/image" Target="../media/image39.png"/><Relationship Id="rId5" Type="http://schemas.openxmlformats.org/officeDocument/2006/relationships/image" Target="../media/image35.png"/><Relationship Id="rId15" Type="http://schemas.openxmlformats.org/officeDocument/2006/relationships/image" Target="../media/image63.png"/><Relationship Id="rId10" Type="http://schemas.openxmlformats.org/officeDocument/2006/relationships/image" Target="../media/image38.png"/><Relationship Id="rId19" Type="http://schemas.openxmlformats.org/officeDocument/2006/relationships/image" Target="../media/image65.png"/><Relationship Id="rId4" Type="http://schemas.openxmlformats.org/officeDocument/2006/relationships/image" Target="../media/image33.png"/><Relationship Id="rId9" Type="http://schemas.openxmlformats.org/officeDocument/2006/relationships/image" Target="../media/image36.png"/><Relationship Id="rId14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8.png"/><Relationship Id="rId3" Type="http://schemas.openxmlformats.org/officeDocument/2006/relationships/hyperlink" Target="https://www.youtube.com/watch?v=BQw8ADEbd48&amp;t=1s" TargetMode="External"/><Relationship Id="rId7" Type="http://schemas.openxmlformats.org/officeDocument/2006/relationships/image" Target="../media/image73.png"/><Relationship Id="rId12" Type="http://schemas.openxmlformats.org/officeDocument/2006/relationships/image" Target="../media/image7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youtube.com/watch?v=2SAf8O6tJBc" TargetMode="External"/><Relationship Id="rId11" Type="http://schemas.openxmlformats.org/officeDocument/2006/relationships/hyperlink" Target="https://www.youtube.com/watch?v=FjA0KKJecpg&amp;t=1s" TargetMode="External"/><Relationship Id="rId5" Type="http://schemas.openxmlformats.org/officeDocument/2006/relationships/image" Target="../media/image72.png"/><Relationship Id="rId10" Type="http://schemas.openxmlformats.org/officeDocument/2006/relationships/image" Target="../media/image76.png"/><Relationship Id="rId4" Type="http://schemas.openxmlformats.org/officeDocument/2006/relationships/image" Target="../media/image71.png"/><Relationship Id="rId9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9.png"/><Relationship Id="rId7" Type="http://schemas.openxmlformats.org/officeDocument/2006/relationships/hyperlink" Target="https://sapvideoa35699dc5.hana.ondemand.com/?entry_id=1_wei5yqno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10" Type="http://schemas.openxmlformats.org/officeDocument/2006/relationships/hyperlink" Target="https://www.sap.com/about/customer-stories.html?search=CEWE&amp;pdf-asset=5c09698c-f97d-0010-bca6-c68f7e60039b&amp;page=1" TargetMode="External"/><Relationship Id="rId4" Type="http://schemas.openxmlformats.org/officeDocument/2006/relationships/image" Target="../media/image80.png"/><Relationship Id="rId9" Type="http://schemas.openxmlformats.org/officeDocument/2006/relationships/hyperlink" Target="https://www.sap.com/about/customer-stories.html?search=TopCon&amp;pdf-asset=94b6d447-067e-0010-bca6-c68f7e60039b&amp;page=1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3.xml"/><Relationship Id="rId7" Type="http://schemas.openxmlformats.org/officeDocument/2006/relationships/image" Target="../media/image43.png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4.xml"/><Relationship Id="rId6" Type="http://schemas.openxmlformats.org/officeDocument/2006/relationships/image" Target="../media/image84.png"/><Relationship Id="rId11" Type="http://schemas.openxmlformats.org/officeDocument/2006/relationships/image" Target="../media/image88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8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8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91.png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hyperlink" Target="https://community.sap.com/topics/activate" TargetMode="External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rapid.sap.com/bp/" TargetMode="External"/><Relationship Id="rId5" Type="http://schemas.openxmlformats.org/officeDocument/2006/relationships/hyperlink" Target="https://go.support.sap.com/roadmapviewer/" TargetMode="External"/><Relationship Id="rId4" Type="http://schemas.openxmlformats.org/officeDocument/2006/relationships/image" Target="../media/image94.tif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go.support.sap.com/roadmapviewer/#/activate" TargetMode="External"/><Relationship Id="rId3" Type="http://schemas.openxmlformats.org/officeDocument/2006/relationships/image" Target="../media/image98.png"/><Relationship Id="rId7" Type="http://schemas.openxmlformats.org/officeDocument/2006/relationships/hyperlink" Target="https://go.support.sap.com/roadmapviewer/Getting" TargetMode="External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10" Type="http://schemas.openxmlformats.org/officeDocument/2006/relationships/image" Target="../media/image102.png"/><Relationship Id="rId4" Type="http://schemas.openxmlformats.org/officeDocument/2006/relationships/hyperlink" Target="https://go.support.sap.com/roadmapviewer/" TargetMode="External"/><Relationship Id="rId9" Type="http://schemas.openxmlformats.org/officeDocument/2006/relationships/image" Target="../media/image10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hyperlink" Target="https://www.sap.com/registration/trial.fe5ab812-4278-4ed7-bfe6-14f55d4c0630.html" TargetMode="External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Relationship Id="rId9" Type="http://schemas.openxmlformats.org/officeDocument/2006/relationships/image" Target="../media/image10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online.flippingbook.com/view/566719129/" TargetMode="External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sap.com/products/erp/grow.html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" Target="slide11.xm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" Target="slide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s://cmicompeteone.wdf.sap.corp/images/uploads/13881/V3-cmi-alert-sap-s4hana-cloud-a-strong-leader-in-gartner-mq-for-service-centric-cloud-erp-2022-07.pdf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hyperlink" Target="https://fioriappslibrary.hana.ondemand.com/sap/fix/externalViewer/#/detail/Apps('F3356')/S15" TargetMode="Externa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pn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29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31" Type="http://schemas.openxmlformats.org/officeDocument/2006/relationships/image" Target="../media/image53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Relationship Id="rId30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5B72D-7602-A340-B17E-A920EB7E48B1}"/>
              </a:ext>
            </a:extLst>
          </p:cNvPr>
          <p:cNvSpPr txBox="1">
            <a:spLocks/>
          </p:cNvSpPr>
          <p:nvPr/>
        </p:nvSpPr>
        <p:spPr>
          <a:xfrm>
            <a:off x="640080" y="1632923"/>
            <a:ext cx="8168640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e your business transformation with S/4HANA Cloud, public edition </a:t>
            </a:r>
            <a:br>
              <a:rPr lang="en-US" sz="3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rag Barua</a:t>
            </a:r>
            <a:br>
              <a:rPr lang="en-US" sz="3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Transformation Leader</a:t>
            </a:r>
          </a:p>
          <a:p>
            <a:br>
              <a:rPr lang="en-US" sz="3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America</a:t>
            </a:r>
          </a:p>
          <a:p>
            <a:endParaRPr lang="en-US" sz="3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EDED0A-8383-45E2-8E22-529D92DC2D0A}"/>
              </a:ext>
            </a:extLst>
          </p:cNvPr>
          <p:cNvSpPr txBox="1">
            <a:spLocks/>
          </p:cNvSpPr>
          <p:nvPr/>
        </p:nvSpPr>
        <p:spPr>
          <a:xfrm>
            <a:off x="417057" y="4959704"/>
            <a:ext cx="4835169" cy="1467683"/>
          </a:xfrm>
          <a:prstGeom prst="rect">
            <a:avLst/>
          </a:prstGeom>
          <a:noFill/>
          <a:ln>
            <a:noFill/>
          </a:ln>
          <a:effectLst/>
        </p:spPr>
        <p:txBody>
          <a:bodyPr lIns="91440" tIns="45720" rIns="91440" bIns="45720" anchor="t"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br>
              <a:rPr lang="en-US" sz="32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20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823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itle 1">
            <a:extLst>
              <a:ext uri="{FF2B5EF4-FFF2-40B4-BE49-F238E27FC236}">
                <a16:creationId xmlns:a16="http://schemas.microsoft.com/office/drawing/2014/main" id="{92BD9452-917D-45B2-AA71-2D23D9C149E0}"/>
              </a:ext>
            </a:extLst>
          </p:cNvPr>
          <p:cNvSpPr txBox="1">
            <a:spLocks/>
          </p:cNvSpPr>
          <p:nvPr/>
        </p:nvSpPr>
        <p:spPr bwMode="black">
          <a:xfrm>
            <a:off x="45051" y="21544"/>
            <a:ext cx="11177742" cy="7075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632"/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lerate business growth</a:t>
            </a:r>
          </a:p>
          <a:p>
            <a:pPr defTabSz="931632"/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798" i="1" u="sng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Service-Centric Industries </a:t>
            </a:r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with end-to-end operational process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9D96DB2-476C-4C2D-B794-8C872E2C1645}"/>
              </a:ext>
            </a:extLst>
          </p:cNvPr>
          <p:cNvSpPr/>
          <p:nvPr/>
        </p:nvSpPr>
        <p:spPr bwMode="gray">
          <a:xfrm>
            <a:off x="1457755" y="1420706"/>
            <a:ext cx="10055582" cy="5698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3304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6" kern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516949A-C720-4624-A7B3-526AEB50AC25}"/>
              </a:ext>
            </a:extLst>
          </p:cNvPr>
          <p:cNvSpPr/>
          <p:nvPr/>
        </p:nvSpPr>
        <p:spPr bwMode="gray">
          <a:xfrm>
            <a:off x="1457969" y="1985158"/>
            <a:ext cx="10055345" cy="43197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2025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099" b="1" kern="0">
                <a:solidFill>
                  <a:srgbClr val="000000"/>
                </a:solidFill>
              </a:rPr>
              <a:t>Customer Projects | Contract-Based | Solution Business</a:t>
            </a:r>
          </a:p>
          <a:p>
            <a:pPr algn="ctr" defTabSz="912025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100" b="1" kern="0">
                <a:solidFill>
                  <a:srgbClr val="000000"/>
                </a:solidFill>
              </a:rPr>
              <a:t>Commercial Real Estate | Govt + University Budget </a:t>
            </a:r>
            <a:r>
              <a:rPr lang="en-US" sz="1100" b="1" kern="0" err="1">
                <a:solidFill>
                  <a:srgbClr val="000000"/>
                </a:solidFill>
              </a:rPr>
              <a:t>Mgmt</a:t>
            </a:r>
            <a:r>
              <a:rPr lang="en-US" sz="1100" b="1" kern="0">
                <a:solidFill>
                  <a:srgbClr val="000000"/>
                </a:solidFill>
              </a:rPr>
              <a:t> | Regulated Financials | Asset Management</a:t>
            </a:r>
            <a:endParaRPr lang="en-IN" sz="1100" b="1" kern="0">
              <a:solidFill>
                <a:srgbClr val="000000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BFB5862-F5AF-40DD-8038-1060762EE465}"/>
              </a:ext>
            </a:extLst>
          </p:cNvPr>
          <p:cNvSpPr txBox="1"/>
          <p:nvPr/>
        </p:nvSpPr>
        <p:spPr>
          <a:xfrm>
            <a:off x="1494680" y="1641027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Industrie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B5D6A03-93B1-478F-ACC9-690BD0D99C8C}"/>
              </a:ext>
            </a:extLst>
          </p:cNvPr>
          <p:cNvSpPr txBox="1"/>
          <p:nvPr/>
        </p:nvSpPr>
        <p:spPr>
          <a:xfrm>
            <a:off x="1494680" y="2017089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Scenario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A106A89-440F-4E1A-8EF2-5F1723A2EE84}"/>
              </a:ext>
            </a:extLst>
          </p:cNvPr>
          <p:cNvSpPr/>
          <p:nvPr/>
        </p:nvSpPr>
        <p:spPr bwMode="gray">
          <a:xfrm>
            <a:off x="1457211" y="2422055"/>
            <a:ext cx="10055345" cy="444544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61" tIns="71887" rIns="89861" bIns="71887" rtlCol="0" anchor="ctr"/>
          <a:lstStyle/>
          <a:p>
            <a:pPr algn="ctr" defTabSz="91284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5" kern="0" err="1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06E7E93E-8C0B-4032-9218-D2D25DB3AA5D}"/>
              </a:ext>
            </a:extLst>
          </p:cNvPr>
          <p:cNvGraphicFramePr>
            <a:graphicFrameLocks noGrp="1"/>
          </p:cNvGraphicFramePr>
          <p:nvPr/>
        </p:nvGraphicFramePr>
        <p:xfrm>
          <a:off x="2667194" y="2465062"/>
          <a:ext cx="8844582" cy="392308"/>
        </p:xfrm>
        <a:graphic>
          <a:graphicData uri="http://schemas.openxmlformats.org/drawingml/2006/table">
            <a:tbl>
              <a:tblPr/>
              <a:tblGrid>
                <a:gridCol w="2854491">
                  <a:extLst>
                    <a:ext uri="{9D8B030D-6E8A-4147-A177-3AD203B41FA5}">
                      <a16:colId xmlns:a16="http://schemas.microsoft.com/office/drawing/2014/main" val="3843060819"/>
                    </a:ext>
                  </a:extLst>
                </a:gridCol>
                <a:gridCol w="2866253">
                  <a:extLst>
                    <a:ext uri="{9D8B030D-6E8A-4147-A177-3AD203B41FA5}">
                      <a16:colId xmlns:a16="http://schemas.microsoft.com/office/drawing/2014/main" val="667175455"/>
                    </a:ext>
                  </a:extLst>
                </a:gridCol>
                <a:gridCol w="3123838">
                  <a:extLst>
                    <a:ext uri="{9D8B030D-6E8A-4147-A177-3AD203B41FA5}">
                      <a16:colId xmlns:a16="http://schemas.microsoft.com/office/drawing/2014/main" val="2272320686"/>
                    </a:ext>
                  </a:extLst>
                </a:gridCol>
              </a:tblGrid>
              <a:tr h="392308"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 Time Revenue Recognition 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profitability at any time</a:t>
                      </a:r>
                    </a:p>
                  </a:txBody>
                  <a:tcPr marL="4537" marR="4537" marT="453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Billing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lution Management / Bundling</a:t>
                      </a:r>
                    </a:p>
                  </a:txBody>
                  <a:tcPr marL="4537" marR="4537" marT="453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aaS</a:t>
                      </a: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/ Subscription Management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ercial Real Estate Management</a:t>
                      </a:r>
                    </a:p>
                  </a:txBody>
                  <a:tcPr marL="4537" marR="4537" marT="4537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490308"/>
                  </a:ext>
                </a:extLst>
              </a:tr>
            </a:tbl>
          </a:graphicData>
        </a:graphic>
      </p:graphicFrame>
      <p:sp>
        <p:nvSpPr>
          <p:cNvPr id="62" name="TextBox 61">
            <a:extLst>
              <a:ext uri="{FF2B5EF4-FFF2-40B4-BE49-F238E27FC236}">
                <a16:creationId xmlns:a16="http://schemas.microsoft.com/office/drawing/2014/main" id="{6E73094C-D963-460F-AC0A-81C56A2F04D7}"/>
              </a:ext>
            </a:extLst>
          </p:cNvPr>
          <p:cNvSpPr txBox="1"/>
          <p:nvPr/>
        </p:nvSpPr>
        <p:spPr>
          <a:xfrm>
            <a:off x="1494681" y="2516854"/>
            <a:ext cx="1135045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Differentiation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1D26A6F-4582-4230-A1AB-7F0BAF786DA4}"/>
              </a:ext>
            </a:extLst>
          </p:cNvPr>
          <p:cNvSpPr/>
          <p:nvPr/>
        </p:nvSpPr>
        <p:spPr bwMode="gray">
          <a:xfrm>
            <a:off x="532211" y="1410381"/>
            <a:ext cx="882192" cy="1456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CA" sz="11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16200000" scaled="1"/>
                </a:gradFill>
                <a:ea typeface="ＭＳ Ｐゴシック"/>
                <a:cs typeface="Arial"/>
              </a:rPr>
              <a:t>Service-Centric Industri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1C24F45-201D-4A7E-B762-23C46EF5471D}"/>
              </a:ext>
            </a:extLst>
          </p:cNvPr>
          <p:cNvSpPr txBox="1"/>
          <p:nvPr/>
        </p:nvSpPr>
        <p:spPr>
          <a:xfrm>
            <a:off x="2733139" y="1543525"/>
            <a:ext cx="885007" cy="307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Professional Service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BCA8BEC-FEC6-48CC-98C1-A8E0BDCF0627}"/>
              </a:ext>
            </a:extLst>
          </p:cNvPr>
          <p:cNvSpPr txBox="1"/>
          <p:nvPr/>
        </p:nvSpPr>
        <p:spPr>
          <a:xfrm>
            <a:off x="3978343" y="1620348"/>
            <a:ext cx="522396" cy="1537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Media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C3D1C7F-A4D5-4C8E-A36E-F24B2A6344BA}"/>
              </a:ext>
            </a:extLst>
          </p:cNvPr>
          <p:cNvSpPr txBox="1"/>
          <p:nvPr/>
        </p:nvSpPr>
        <p:spPr>
          <a:xfrm>
            <a:off x="6112404" y="1543525"/>
            <a:ext cx="500683" cy="307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Public </a:t>
            </a:r>
            <a:br>
              <a:rPr lang="en-US" sz="999" b="1" kern="0">
                <a:ea typeface="Arial Unicode MS" pitchFamily="34" charset="-128"/>
                <a:cs typeface="Arial Unicode MS" pitchFamily="34" charset="-128"/>
              </a:rPr>
            </a:b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Sector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7CBBF0A-E9D9-4F4C-8D78-A0C568A9907E}"/>
              </a:ext>
            </a:extLst>
          </p:cNvPr>
          <p:cNvSpPr txBox="1"/>
          <p:nvPr/>
        </p:nvSpPr>
        <p:spPr>
          <a:xfrm>
            <a:off x="4912512" y="1543532"/>
            <a:ext cx="709839" cy="307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EC&amp;O + Real Estat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D961D61-FDF9-4268-9804-DC62A2252016}"/>
              </a:ext>
            </a:extLst>
          </p:cNvPr>
          <p:cNvSpPr txBox="1"/>
          <p:nvPr/>
        </p:nvSpPr>
        <p:spPr>
          <a:xfrm>
            <a:off x="7098621" y="1543525"/>
            <a:ext cx="740310" cy="307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Higher </a:t>
            </a:r>
            <a:br>
              <a:rPr lang="en-US" sz="999" b="1" kern="0">
                <a:ea typeface="Arial Unicode MS" pitchFamily="34" charset="-128"/>
                <a:cs typeface="Arial Unicode MS" pitchFamily="34" charset="-128"/>
              </a:rPr>
            </a:b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Educatio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E6AD4D7-320F-41EA-80E2-D7A343EB586C}"/>
              </a:ext>
            </a:extLst>
          </p:cNvPr>
          <p:cNvSpPr txBox="1"/>
          <p:nvPr/>
        </p:nvSpPr>
        <p:spPr>
          <a:xfrm>
            <a:off x="8093350" y="1620372"/>
            <a:ext cx="798447" cy="1536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Banking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3B1A6CF-E042-43C3-BFE5-7F93BA425EB6}"/>
              </a:ext>
            </a:extLst>
          </p:cNvPr>
          <p:cNvSpPr txBox="1"/>
          <p:nvPr/>
        </p:nvSpPr>
        <p:spPr>
          <a:xfrm>
            <a:off x="10359474" y="1543532"/>
            <a:ext cx="989944" cy="307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Travel + Transportation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363E8464-B742-4F28-AC79-D75774B1E1D4}"/>
              </a:ext>
            </a:extLst>
          </p:cNvPr>
          <p:cNvSpPr txBox="1"/>
          <p:nvPr/>
        </p:nvSpPr>
        <p:spPr>
          <a:xfrm>
            <a:off x="9133629" y="1620372"/>
            <a:ext cx="798447" cy="1536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b="1" kern="0">
                <a:ea typeface="Arial Unicode MS" pitchFamily="34" charset="-128"/>
                <a:cs typeface="Arial Unicode MS" pitchFamily="34" charset="-128"/>
              </a:rPr>
              <a:t>Insurance</a:t>
            </a:r>
          </a:p>
        </p:txBody>
      </p:sp>
      <p:pic>
        <p:nvPicPr>
          <p:cNvPr id="129" name="Picture 128">
            <a:extLst>
              <a:ext uri="{FF2B5EF4-FFF2-40B4-BE49-F238E27FC236}">
                <a16:creationId xmlns:a16="http://schemas.microsoft.com/office/drawing/2014/main" id="{75267795-96A3-4F2A-BA48-38713F213E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661" y="1493319"/>
            <a:ext cx="407789" cy="407789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418A1EA8-EECE-4C43-9891-AA617103CE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6257" y="1478865"/>
            <a:ext cx="436697" cy="436697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65221C2B-6E33-499B-A652-0A99DC8B4FC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613" y="1536347"/>
            <a:ext cx="321733" cy="321733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3F4E0B69-47A1-4633-BAFC-607C89434F8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6200" y="1517686"/>
            <a:ext cx="359052" cy="359052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1774F727-5114-41F7-9F27-5AA04EF9D29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7706" y="1499626"/>
            <a:ext cx="395175" cy="395175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1CF76984-32EC-487A-BC0E-72A99837C6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1933" y="1542047"/>
            <a:ext cx="319244" cy="319244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92410E8E-1832-471A-8E95-2978C87C9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55525" y="1474177"/>
            <a:ext cx="463915" cy="463915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8D11B363-CB2B-40BE-81E5-44891EEFF5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14367" y="1483303"/>
            <a:ext cx="395175" cy="395175"/>
          </a:xfrm>
          <a:prstGeom prst="rect">
            <a:avLst/>
          </a:prstGeom>
        </p:spPr>
      </p:pic>
      <p:sp>
        <p:nvSpPr>
          <p:cNvPr id="238" name="TextBox 237">
            <a:extLst>
              <a:ext uri="{FF2B5EF4-FFF2-40B4-BE49-F238E27FC236}">
                <a16:creationId xmlns:a16="http://schemas.microsoft.com/office/drawing/2014/main" id="{44324D95-A8F3-44EE-BDC0-EC6CD835AE8A}"/>
              </a:ext>
            </a:extLst>
          </p:cNvPr>
          <p:cNvSpPr txBox="1"/>
          <p:nvPr/>
        </p:nvSpPr>
        <p:spPr>
          <a:xfrm>
            <a:off x="691592" y="3569211"/>
            <a:ext cx="4012712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kern="0">
                <a:ea typeface="Arial Unicode MS" pitchFamily="34" charset="-128"/>
              </a:rPr>
              <a:t>Example – Customer Project Value Chain:</a:t>
            </a:r>
          </a:p>
        </p:txBody>
      </p: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94AF91AD-79A3-4B0C-B390-A511A7FF7462}"/>
              </a:ext>
            </a:extLst>
          </p:cNvPr>
          <p:cNvGrpSpPr/>
          <p:nvPr/>
        </p:nvGrpSpPr>
        <p:grpSpPr>
          <a:xfrm>
            <a:off x="685354" y="3196379"/>
            <a:ext cx="10826419" cy="287650"/>
            <a:chOff x="685712" y="3107816"/>
            <a:chExt cx="9411708" cy="287800"/>
          </a:xfrm>
        </p:grpSpPr>
        <p:sp>
          <p:nvSpPr>
            <p:cNvPr id="240" name="Arrow: Pentagon 86">
              <a:extLst>
                <a:ext uri="{FF2B5EF4-FFF2-40B4-BE49-F238E27FC236}">
                  <a16:creationId xmlns:a16="http://schemas.microsoft.com/office/drawing/2014/main" id="{DEB81003-4E2C-498A-B215-5FD7F5FE1A9B}"/>
                </a:ext>
              </a:extLst>
            </p:cNvPr>
            <p:cNvSpPr/>
            <p:nvPr/>
          </p:nvSpPr>
          <p:spPr>
            <a:xfrm>
              <a:off x="7504444" y="3107816"/>
              <a:ext cx="2592976" cy="287800"/>
            </a:xfrm>
            <a:prstGeom prst="homePlate">
              <a:avLst/>
            </a:prstGeom>
            <a:solidFill>
              <a:srgbClr val="4CC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/>
                </a:rPr>
                <a:t>Bill &amp; Manage</a:t>
              </a:r>
            </a:p>
          </p:txBody>
        </p:sp>
        <p:sp>
          <p:nvSpPr>
            <p:cNvPr id="241" name="Arrow: Pentagon 87">
              <a:extLst>
                <a:ext uri="{FF2B5EF4-FFF2-40B4-BE49-F238E27FC236}">
                  <a16:creationId xmlns:a16="http://schemas.microsoft.com/office/drawing/2014/main" id="{67F596A7-0DCE-47FC-9BCB-DF7BA478322E}"/>
                </a:ext>
              </a:extLst>
            </p:cNvPr>
            <p:cNvSpPr/>
            <p:nvPr/>
          </p:nvSpPr>
          <p:spPr>
            <a:xfrm>
              <a:off x="5329375" y="3107816"/>
              <a:ext cx="2647060" cy="287800"/>
            </a:xfrm>
            <a:prstGeom prst="homePlate">
              <a:avLst/>
            </a:prstGeom>
            <a:solidFill>
              <a:srgbClr val="87D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endParaRPr lang="en-US" sz="1400" b="1">
                <a:solidFill>
                  <a:srgbClr val="000000"/>
                </a:solidFill>
                <a:latin typeface="Arial"/>
              </a:endParaRPr>
            </a:p>
            <a:p>
              <a:pPr algn="ctr" defTabSz="1087470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/>
                </a:rPr>
                <a:t>Delivery &amp; Recognize</a:t>
              </a:r>
            </a:p>
            <a:p>
              <a:pPr algn="ctr" defTabSz="1087470">
                <a:defRPr/>
              </a:pPr>
              <a:endParaRPr lang="en-US" sz="1400" b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2" name="Arrow: Pentagon 88">
              <a:extLst>
                <a:ext uri="{FF2B5EF4-FFF2-40B4-BE49-F238E27FC236}">
                  <a16:creationId xmlns:a16="http://schemas.microsoft.com/office/drawing/2014/main" id="{0811CEA7-7494-4214-963A-FFCF0C2D4D91}"/>
                </a:ext>
              </a:extLst>
            </p:cNvPr>
            <p:cNvSpPr/>
            <p:nvPr/>
          </p:nvSpPr>
          <p:spPr>
            <a:xfrm>
              <a:off x="2717845" y="3107816"/>
              <a:ext cx="2816821" cy="287800"/>
            </a:xfrm>
            <a:prstGeom prst="homePlate">
              <a:avLst/>
            </a:prstGeom>
            <a:solidFill>
              <a:srgbClr val="008B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chemeClr val="bg1"/>
                  </a:solidFill>
                  <a:latin typeface="Arial"/>
                </a:rPr>
                <a:t>Setup &amp; Staff</a:t>
              </a:r>
            </a:p>
          </p:txBody>
        </p:sp>
        <p:sp>
          <p:nvSpPr>
            <p:cNvPr id="243" name="Arrow: Pentagon 90">
              <a:extLst>
                <a:ext uri="{FF2B5EF4-FFF2-40B4-BE49-F238E27FC236}">
                  <a16:creationId xmlns:a16="http://schemas.microsoft.com/office/drawing/2014/main" id="{0DDB2EC6-3FD3-4C81-B134-D63129DBDFD6}"/>
                </a:ext>
              </a:extLst>
            </p:cNvPr>
            <p:cNvSpPr/>
            <p:nvPr/>
          </p:nvSpPr>
          <p:spPr>
            <a:xfrm>
              <a:off x="685712" y="3107816"/>
              <a:ext cx="2438785" cy="287800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chemeClr val="bg1"/>
                  </a:solidFill>
                  <a:latin typeface="Arial"/>
                </a:rPr>
                <a:t>Sell &amp; Pla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4B9A80-4C79-4AEF-9A83-E071D1B6FE79}"/>
              </a:ext>
            </a:extLst>
          </p:cNvPr>
          <p:cNvGrpSpPr/>
          <p:nvPr/>
        </p:nvGrpSpPr>
        <p:grpSpPr>
          <a:xfrm>
            <a:off x="685354" y="3984929"/>
            <a:ext cx="10664064" cy="1891125"/>
            <a:chOff x="685711" y="3985219"/>
            <a:chExt cx="10669618" cy="1892109"/>
          </a:xfrm>
        </p:grpSpPr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60B1D8D4-8C3C-4DBD-A617-A68C1AD4C42C}"/>
                </a:ext>
              </a:extLst>
            </p:cNvPr>
            <p:cNvSpPr/>
            <p:nvPr/>
          </p:nvSpPr>
          <p:spPr bwMode="gray">
            <a:xfrm>
              <a:off x="9110262" y="4065641"/>
              <a:ext cx="1632333" cy="1632332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99241EF8-90D1-468A-9574-6DE6D4943483}"/>
                </a:ext>
              </a:extLst>
            </p:cNvPr>
            <p:cNvSpPr/>
            <p:nvPr/>
          </p:nvSpPr>
          <p:spPr bwMode="gray">
            <a:xfrm>
              <a:off x="6441037" y="4075219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436B1B2A-8A8F-4CC0-B3D9-435DE0E55C42}"/>
                </a:ext>
              </a:extLst>
            </p:cNvPr>
            <p:cNvSpPr/>
            <p:nvPr/>
          </p:nvSpPr>
          <p:spPr bwMode="gray">
            <a:xfrm>
              <a:off x="1189012" y="4039255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727DE5DA-CB71-4741-8B9B-2698BA9016EE}"/>
                </a:ext>
              </a:extLst>
            </p:cNvPr>
            <p:cNvSpPr/>
            <p:nvPr/>
          </p:nvSpPr>
          <p:spPr bwMode="gray">
            <a:xfrm>
              <a:off x="3849043" y="4052034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8F422205-9885-4C74-B3B7-B4CC126DA204}"/>
                </a:ext>
              </a:extLst>
            </p:cNvPr>
            <p:cNvSpPr/>
            <p:nvPr/>
          </p:nvSpPr>
          <p:spPr bwMode="gray">
            <a:xfrm>
              <a:off x="685711" y="4691889"/>
              <a:ext cx="10669618" cy="444049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79A04011-2B38-46D1-AD8E-4C1DCEC7E48A}"/>
                </a:ext>
              </a:extLst>
            </p:cNvPr>
            <p:cNvCxnSpPr>
              <a:cxnSpLocks/>
            </p:cNvCxnSpPr>
            <p:nvPr/>
          </p:nvCxnSpPr>
          <p:spPr>
            <a:xfrm>
              <a:off x="3147461" y="4916230"/>
              <a:ext cx="528500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105" name="Triangle 41">
              <a:extLst>
                <a:ext uri="{FF2B5EF4-FFF2-40B4-BE49-F238E27FC236}">
                  <a16:creationId xmlns:a16="http://schemas.microsoft.com/office/drawing/2014/main" id="{069AEB56-03BA-4693-8F6C-14618C22F58E}"/>
                </a:ext>
              </a:extLst>
            </p:cNvPr>
            <p:cNvSpPr/>
            <p:nvPr/>
          </p:nvSpPr>
          <p:spPr bwMode="gray">
            <a:xfrm rot="9589765">
              <a:off x="2766389" y="4628371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7" name="Triangle 50">
              <a:extLst>
                <a:ext uri="{FF2B5EF4-FFF2-40B4-BE49-F238E27FC236}">
                  <a16:creationId xmlns:a16="http://schemas.microsoft.com/office/drawing/2014/main" id="{8A9FD3DF-B5DD-4811-99BE-04CE6C938EBD}"/>
                </a:ext>
              </a:extLst>
            </p:cNvPr>
            <p:cNvSpPr/>
            <p:nvPr/>
          </p:nvSpPr>
          <p:spPr bwMode="gray">
            <a:xfrm rot="9589765">
              <a:off x="5419682" y="4628371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181" name="Straight Arrow Connector 180">
              <a:extLst>
                <a:ext uri="{FF2B5EF4-FFF2-40B4-BE49-F238E27FC236}">
                  <a16:creationId xmlns:a16="http://schemas.microsoft.com/office/drawing/2014/main" id="{083A9E02-F022-48EF-B360-1361DBB3B266}"/>
                </a:ext>
              </a:extLst>
            </p:cNvPr>
            <p:cNvCxnSpPr>
              <a:cxnSpLocks/>
            </p:cNvCxnSpPr>
            <p:nvPr/>
          </p:nvCxnSpPr>
          <p:spPr>
            <a:xfrm>
              <a:off x="6666488" y="4917303"/>
              <a:ext cx="16162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82" name="Straight Arrow Connector 181">
              <a:extLst>
                <a:ext uri="{FF2B5EF4-FFF2-40B4-BE49-F238E27FC236}">
                  <a16:creationId xmlns:a16="http://schemas.microsoft.com/office/drawing/2014/main" id="{474C7E3A-E1E7-4605-87E4-DAF7892E10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18455" y="4915687"/>
              <a:ext cx="187260" cy="1086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84" name="Straight Arrow Connector 183">
              <a:extLst>
                <a:ext uri="{FF2B5EF4-FFF2-40B4-BE49-F238E27FC236}">
                  <a16:creationId xmlns:a16="http://schemas.microsoft.com/office/drawing/2014/main" id="{1C8547CC-649A-4E37-87C7-82153F5E8AB8}"/>
                </a:ext>
              </a:extLst>
            </p:cNvPr>
            <p:cNvCxnSpPr>
              <a:cxnSpLocks/>
            </p:cNvCxnSpPr>
            <p:nvPr/>
          </p:nvCxnSpPr>
          <p:spPr>
            <a:xfrm>
              <a:off x="9353101" y="4916230"/>
              <a:ext cx="273496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85" name="Straight Arrow Connector 184">
              <a:extLst>
                <a:ext uri="{FF2B5EF4-FFF2-40B4-BE49-F238E27FC236}">
                  <a16:creationId xmlns:a16="http://schemas.microsoft.com/office/drawing/2014/main" id="{9366CD0C-5674-4A4E-88B0-CA5BA56E534B}"/>
                </a:ext>
              </a:extLst>
            </p:cNvPr>
            <p:cNvCxnSpPr>
              <a:cxnSpLocks/>
            </p:cNvCxnSpPr>
            <p:nvPr/>
          </p:nvCxnSpPr>
          <p:spPr>
            <a:xfrm>
              <a:off x="10341880" y="4916230"/>
              <a:ext cx="221542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93" name="Straight Arrow Connector 192">
              <a:extLst>
                <a:ext uri="{FF2B5EF4-FFF2-40B4-BE49-F238E27FC236}">
                  <a16:creationId xmlns:a16="http://schemas.microsoft.com/office/drawing/2014/main" id="{AF76F7DC-B2DF-4644-975B-547F8F496435}"/>
                </a:ext>
              </a:extLst>
            </p:cNvPr>
            <p:cNvCxnSpPr>
              <a:cxnSpLocks/>
            </p:cNvCxnSpPr>
            <p:nvPr/>
          </p:nvCxnSpPr>
          <p:spPr>
            <a:xfrm>
              <a:off x="4099420" y="4916230"/>
              <a:ext cx="26873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94" name="Straight Arrow Connector 193">
              <a:extLst>
                <a:ext uri="{FF2B5EF4-FFF2-40B4-BE49-F238E27FC236}">
                  <a16:creationId xmlns:a16="http://schemas.microsoft.com/office/drawing/2014/main" id="{5F13B5EE-A728-4432-824F-7D7FB0461D27}"/>
                </a:ext>
              </a:extLst>
            </p:cNvPr>
            <p:cNvCxnSpPr>
              <a:cxnSpLocks/>
            </p:cNvCxnSpPr>
            <p:nvPr/>
          </p:nvCxnSpPr>
          <p:spPr>
            <a:xfrm>
              <a:off x="5025074" y="4916230"/>
              <a:ext cx="246167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C8BE3473-D0FA-4B15-B9CD-A2F1EC77F612}"/>
                </a:ext>
              </a:extLst>
            </p:cNvPr>
            <p:cNvCxnSpPr>
              <a:cxnSpLocks/>
            </p:cNvCxnSpPr>
            <p:nvPr/>
          </p:nvCxnSpPr>
          <p:spPr>
            <a:xfrm>
              <a:off x="1366921" y="4916230"/>
              <a:ext cx="298855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196" name="Straight Arrow Connector 195">
              <a:extLst>
                <a:ext uri="{FF2B5EF4-FFF2-40B4-BE49-F238E27FC236}">
                  <a16:creationId xmlns:a16="http://schemas.microsoft.com/office/drawing/2014/main" id="{F1BA74DC-291F-45ED-AFC8-EE3C335C98C9}"/>
                </a:ext>
              </a:extLst>
            </p:cNvPr>
            <p:cNvCxnSpPr>
              <a:cxnSpLocks/>
            </p:cNvCxnSpPr>
            <p:nvPr/>
          </p:nvCxnSpPr>
          <p:spPr>
            <a:xfrm>
              <a:off x="2284585" y="4916230"/>
              <a:ext cx="235507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6933C3FB-5AC7-468B-8288-2D4653E8076D}"/>
                </a:ext>
              </a:extLst>
            </p:cNvPr>
            <p:cNvSpPr txBox="1"/>
            <p:nvPr/>
          </p:nvSpPr>
          <p:spPr>
            <a:xfrm>
              <a:off x="1731500" y="4753857"/>
              <a:ext cx="478026" cy="1648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sz="1050" b="1" kern="0">
                  <a:solidFill>
                    <a:srgbClr val="008FD3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Sell &amp; Plan</a:t>
              </a:r>
              <a:endParaRPr sz="1050" kern="0">
                <a:solidFill>
                  <a:srgbClr val="008FD3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9D9966DF-F5F5-4720-B7C1-BC66EC05D9F6}"/>
                </a:ext>
              </a:extLst>
            </p:cNvPr>
            <p:cNvSpPr txBox="1"/>
            <p:nvPr/>
          </p:nvSpPr>
          <p:spPr>
            <a:xfrm>
              <a:off x="4413306" y="4753857"/>
              <a:ext cx="581801" cy="1648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50" b="1" kern="0">
                  <a:solidFill>
                    <a:srgbClr val="4FB81C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Setup</a:t>
              </a:r>
              <a:r>
                <a:rPr sz="1050" b="1" kern="0">
                  <a:solidFill>
                    <a:srgbClr val="4FB81C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&amp; Staff</a:t>
              </a:r>
              <a:endParaRPr sz="1050" kern="0">
                <a:solidFill>
                  <a:srgbClr val="4FB81C"/>
                </a:solidFill>
                <a:latin typeface="+mj-lt"/>
                <a:ea typeface="Arial Unicode MS" pitchFamily="34" charset="-128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216552BA-CBB4-42A4-A6CA-FFCE48CFC1DC}"/>
                </a:ext>
              </a:extLst>
            </p:cNvPr>
            <p:cNvSpPr txBox="1"/>
            <p:nvPr/>
          </p:nvSpPr>
          <p:spPr>
            <a:xfrm>
              <a:off x="6787353" y="4753857"/>
              <a:ext cx="892021" cy="1648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50" b="1" kern="0" err="1">
                  <a:solidFill>
                    <a:srgbClr val="E35500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Deliver</a:t>
              </a:r>
              <a:r>
                <a:rPr lang="de-DE" sz="1050" b="1" kern="0">
                  <a:solidFill>
                    <a:srgbClr val="E35500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&amp; </a:t>
              </a:r>
              <a:r>
                <a:rPr lang="de-DE" sz="1050" b="1" kern="0" err="1">
                  <a:solidFill>
                    <a:srgbClr val="E35500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Recognize</a:t>
              </a:r>
              <a:endParaRPr sz="1050" kern="0">
                <a:solidFill>
                  <a:srgbClr val="E35500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96EF515C-9BCA-4180-9BEF-B247388E2D68}"/>
                </a:ext>
              </a:extLst>
            </p:cNvPr>
            <p:cNvSpPr txBox="1"/>
            <p:nvPr/>
          </p:nvSpPr>
          <p:spPr>
            <a:xfrm>
              <a:off x="9653394" y="4753857"/>
              <a:ext cx="607193" cy="1648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50" b="1" kern="0">
                  <a:solidFill>
                    <a:srgbClr val="760A85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Bill &amp; Manage</a:t>
              </a:r>
              <a:endParaRPr sz="1050" b="1" kern="0">
                <a:solidFill>
                  <a:srgbClr val="760A85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206" name="Picture 205">
              <a:extLst>
                <a:ext uri="{FF2B5EF4-FFF2-40B4-BE49-F238E27FC236}">
                  <a16:creationId xmlns:a16="http://schemas.microsoft.com/office/drawing/2014/main" id="{4E9BA3DB-4872-4D7D-9525-CF2AFF8B9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1211" y="4692387"/>
              <a:ext cx="437550" cy="437550"/>
            </a:xfrm>
            <a:prstGeom prst="rect">
              <a:avLst/>
            </a:prstGeom>
          </p:spPr>
        </p:pic>
        <p:pic>
          <p:nvPicPr>
            <p:cNvPr id="207" name="Picture 206">
              <a:extLst>
                <a:ext uri="{FF2B5EF4-FFF2-40B4-BE49-F238E27FC236}">
                  <a16:creationId xmlns:a16="http://schemas.microsoft.com/office/drawing/2014/main" id="{D4E5F56F-6091-4713-A552-627AACF57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48212" y="4702221"/>
              <a:ext cx="424057" cy="424056"/>
            </a:xfrm>
            <a:prstGeom prst="rect">
              <a:avLst/>
            </a:prstGeom>
          </p:spPr>
        </p:pic>
        <p:pic>
          <p:nvPicPr>
            <p:cNvPr id="208" name="Picture 207">
              <a:extLst>
                <a:ext uri="{FF2B5EF4-FFF2-40B4-BE49-F238E27FC236}">
                  <a16:creationId xmlns:a16="http://schemas.microsoft.com/office/drawing/2014/main" id="{282F06CF-2FA0-454D-9B71-C90640A49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7356" y="4691654"/>
              <a:ext cx="420793" cy="420792"/>
            </a:xfrm>
            <a:prstGeom prst="rect">
              <a:avLst/>
            </a:prstGeom>
          </p:spPr>
        </p:pic>
        <p:pic>
          <p:nvPicPr>
            <p:cNvPr id="209" name="Picture 208">
              <a:extLst>
                <a:ext uri="{FF2B5EF4-FFF2-40B4-BE49-F238E27FC236}">
                  <a16:creationId xmlns:a16="http://schemas.microsoft.com/office/drawing/2014/main" id="{6AC57E1E-7227-4C3D-854F-23F913BBC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912" y="4721981"/>
              <a:ext cx="387411" cy="387411"/>
            </a:xfrm>
            <a:prstGeom prst="rect">
              <a:avLst/>
            </a:prstGeom>
          </p:spPr>
        </p:pic>
        <p:pic>
          <p:nvPicPr>
            <p:cNvPr id="210" name="Picture 209">
              <a:extLst>
                <a:ext uri="{FF2B5EF4-FFF2-40B4-BE49-F238E27FC236}">
                  <a16:creationId xmlns:a16="http://schemas.microsoft.com/office/drawing/2014/main" id="{9224B2AB-4789-4551-BA8D-589344E0FD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8900" y="4675238"/>
              <a:ext cx="480897" cy="480897"/>
            </a:xfrm>
            <a:prstGeom prst="rect">
              <a:avLst/>
            </a:prstGeom>
          </p:spPr>
        </p:pic>
        <p:pic>
          <p:nvPicPr>
            <p:cNvPr id="211" name="Picture 210">
              <a:extLst>
                <a:ext uri="{FF2B5EF4-FFF2-40B4-BE49-F238E27FC236}">
                  <a16:creationId xmlns:a16="http://schemas.microsoft.com/office/drawing/2014/main" id="{4C67751F-20E4-4369-9B61-4746991AE2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08845" y="4667606"/>
              <a:ext cx="437551" cy="437550"/>
            </a:xfrm>
            <a:prstGeom prst="rect">
              <a:avLst/>
            </a:prstGeom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982FA360-B831-418E-A91B-5703695E7D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84455" y="4741012"/>
              <a:ext cx="352401" cy="352401"/>
            </a:xfrm>
            <a:prstGeom prst="rect">
              <a:avLst/>
            </a:prstGeom>
          </p:spPr>
        </p:pic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02800542-8BD4-46AE-9125-A28FA8A33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89307" y="4709384"/>
              <a:ext cx="378393" cy="378393"/>
            </a:xfrm>
            <a:prstGeom prst="rect">
              <a:avLst/>
            </a:prstGeom>
          </p:spPr>
        </p:pic>
        <p:sp>
          <p:nvSpPr>
            <p:cNvPr id="214" name="Rounded Rectangle 13">
              <a:extLst>
                <a:ext uri="{FF2B5EF4-FFF2-40B4-BE49-F238E27FC236}">
                  <a16:creationId xmlns:a16="http://schemas.microsoft.com/office/drawing/2014/main" id="{3C2FD327-B288-4A08-9F41-02481F304026}"/>
                </a:ext>
              </a:extLst>
            </p:cNvPr>
            <p:cNvSpPr/>
            <p:nvPr/>
          </p:nvSpPr>
          <p:spPr bwMode="gray">
            <a:xfrm>
              <a:off x="2330316" y="4322942"/>
              <a:ext cx="631032" cy="234349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0" tIns="49756" rIns="0" bIns="49756" rtlCol="0" anchor="ctr"/>
            <a:lstStyle/>
            <a:p>
              <a:pPr algn="ctr" defTabSz="63177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Opportunity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ment</a:t>
              </a:r>
            </a:p>
          </p:txBody>
        </p:sp>
        <p:sp>
          <p:nvSpPr>
            <p:cNvPr id="215" name="Rounded Rectangle 11">
              <a:extLst>
                <a:ext uri="{FF2B5EF4-FFF2-40B4-BE49-F238E27FC236}">
                  <a16:creationId xmlns:a16="http://schemas.microsoft.com/office/drawing/2014/main" id="{487F9CD1-C6CD-4E96-878A-372880D9505B}"/>
                </a:ext>
              </a:extLst>
            </p:cNvPr>
            <p:cNvSpPr/>
            <p:nvPr/>
          </p:nvSpPr>
          <p:spPr bwMode="gray">
            <a:xfrm>
              <a:off x="1047191" y="4322942"/>
              <a:ext cx="631032" cy="234349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0" tIns="49756" rIns="0" bIns="49756" rtlCol="0" anchor="ctr"/>
            <a:lstStyle/>
            <a:p>
              <a:pPr algn="ctr" defTabSz="63177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Lead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ment</a:t>
              </a:r>
            </a:p>
          </p:txBody>
        </p:sp>
        <p:sp>
          <p:nvSpPr>
            <p:cNvPr id="217" name="Rounded Rectangle 18">
              <a:extLst>
                <a:ext uri="{FF2B5EF4-FFF2-40B4-BE49-F238E27FC236}">
                  <a16:creationId xmlns:a16="http://schemas.microsoft.com/office/drawing/2014/main" id="{64F799AB-72F6-492A-9D63-891E3D29B5DD}"/>
                </a:ext>
              </a:extLst>
            </p:cNvPr>
            <p:cNvSpPr/>
            <p:nvPr/>
          </p:nvSpPr>
          <p:spPr bwMode="invGray">
            <a:xfrm>
              <a:off x="2283399" y="5301385"/>
              <a:ext cx="631032" cy="234349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0" tIns="49756" rIns="0" bIns="49756" rtlCol="0" anchor="ctr"/>
            <a:lstStyle/>
            <a:p>
              <a:pPr algn="ctr" defTabSz="63177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Bid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reation</a:t>
              </a:r>
            </a:p>
          </p:txBody>
        </p:sp>
        <p:sp>
          <p:nvSpPr>
            <p:cNvPr id="218" name="Rounded Rectangle 19">
              <a:extLst>
                <a:ext uri="{FF2B5EF4-FFF2-40B4-BE49-F238E27FC236}">
                  <a16:creationId xmlns:a16="http://schemas.microsoft.com/office/drawing/2014/main" id="{2B7D1C4F-17F5-4707-BB9E-0957D1EF23C3}"/>
                </a:ext>
              </a:extLst>
            </p:cNvPr>
            <p:cNvSpPr/>
            <p:nvPr/>
          </p:nvSpPr>
          <p:spPr bwMode="invGray">
            <a:xfrm>
              <a:off x="1055802" y="5301385"/>
              <a:ext cx="587879" cy="234349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losing + Contracts</a:t>
              </a:r>
            </a:p>
          </p:txBody>
        </p:sp>
        <p:sp>
          <p:nvSpPr>
            <p:cNvPr id="220" name="Rounded Rectangle 31">
              <a:extLst>
                <a:ext uri="{FF2B5EF4-FFF2-40B4-BE49-F238E27FC236}">
                  <a16:creationId xmlns:a16="http://schemas.microsoft.com/office/drawing/2014/main" id="{99A651E0-BF2F-44DB-AF0D-625A089857CE}"/>
                </a:ext>
              </a:extLst>
            </p:cNvPr>
            <p:cNvSpPr/>
            <p:nvPr/>
          </p:nvSpPr>
          <p:spPr bwMode="gray">
            <a:xfrm>
              <a:off x="3808910" y="5274036"/>
              <a:ext cx="504000" cy="289046"/>
            </a:xfrm>
            <a:prstGeom prst="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Utilization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Reporting</a:t>
              </a:r>
            </a:p>
          </p:txBody>
        </p:sp>
        <p:sp>
          <p:nvSpPr>
            <p:cNvPr id="222" name="Rounded Rectangle 33">
              <a:extLst>
                <a:ext uri="{FF2B5EF4-FFF2-40B4-BE49-F238E27FC236}">
                  <a16:creationId xmlns:a16="http://schemas.microsoft.com/office/drawing/2014/main" id="{809499A2-F1F9-4586-9F72-700842E03588}"/>
                </a:ext>
              </a:extLst>
            </p:cNvPr>
            <p:cNvSpPr/>
            <p:nvPr/>
          </p:nvSpPr>
          <p:spPr bwMode="gray">
            <a:xfrm>
              <a:off x="3669682" y="4320263"/>
              <a:ext cx="675447" cy="239707"/>
            </a:xfrm>
            <a:prstGeom prst="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Engagement Setup</a:t>
              </a:r>
            </a:p>
          </p:txBody>
        </p:sp>
        <p:sp>
          <p:nvSpPr>
            <p:cNvPr id="223" name="Rounded Rectangle 34">
              <a:extLst>
                <a:ext uri="{FF2B5EF4-FFF2-40B4-BE49-F238E27FC236}">
                  <a16:creationId xmlns:a16="http://schemas.microsoft.com/office/drawing/2014/main" id="{690E3CEF-8B78-4231-8BB5-B7EB78D981F1}"/>
                </a:ext>
              </a:extLst>
            </p:cNvPr>
            <p:cNvSpPr/>
            <p:nvPr/>
          </p:nvSpPr>
          <p:spPr bwMode="gray">
            <a:xfrm>
              <a:off x="4797699" y="4314772"/>
              <a:ext cx="960987" cy="250688"/>
            </a:xfrm>
            <a:prstGeom prst="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Search for Qualified Resources</a:t>
              </a:r>
            </a:p>
          </p:txBody>
        </p:sp>
        <p:sp>
          <p:nvSpPr>
            <p:cNvPr id="225" name="Rounded Rectangle 36">
              <a:extLst>
                <a:ext uri="{FF2B5EF4-FFF2-40B4-BE49-F238E27FC236}">
                  <a16:creationId xmlns:a16="http://schemas.microsoft.com/office/drawing/2014/main" id="{458FE571-17DC-4A09-A755-8842DF51281D}"/>
                </a:ext>
              </a:extLst>
            </p:cNvPr>
            <p:cNvSpPr/>
            <p:nvPr/>
          </p:nvSpPr>
          <p:spPr bwMode="gray">
            <a:xfrm>
              <a:off x="4957907" y="5266865"/>
              <a:ext cx="609840" cy="303389"/>
            </a:xfrm>
            <a:prstGeom prst="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Assign Resources</a:t>
              </a:r>
            </a:p>
          </p:txBody>
        </p:sp>
        <p:sp>
          <p:nvSpPr>
            <p:cNvPr id="226" name="Rounded Rectangle 17">
              <a:extLst>
                <a:ext uri="{FF2B5EF4-FFF2-40B4-BE49-F238E27FC236}">
                  <a16:creationId xmlns:a16="http://schemas.microsoft.com/office/drawing/2014/main" id="{91203D0F-BFD0-4EE0-9D82-275D9AA00DA5}"/>
                </a:ext>
              </a:extLst>
            </p:cNvPr>
            <p:cNvSpPr/>
            <p:nvPr/>
          </p:nvSpPr>
          <p:spPr bwMode="invGray">
            <a:xfrm>
              <a:off x="6365010" y="5280517"/>
              <a:ext cx="504000" cy="276085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 Margin</a:t>
              </a:r>
            </a:p>
          </p:txBody>
        </p:sp>
        <p:sp>
          <p:nvSpPr>
            <p:cNvPr id="227" name="Rounded Rectangle 22">
              <a:extLst>
                <a:ext uri="{FF2B5EF4-FFF2-40B4-BE49-F238E27FC236}">
                  <a16:creationId xmlns:a16="http://schemas.microsoft.com/office/drawing/2014/main" id="{32155260-5540-41FD-934B-7CACEA3991C7}"/>
                </a:ext>
              </a:extLst>
            </p:cNvPr>
            <p:cNvSpPr/>
            <p:nvPr/>
          </p:nvSpPr>
          <p:spPr bwMode="invGray">
            <a:xfrm>
              <a:off x="6974320" y="5550433"/>
              <a:ext cx="537534" cy="326895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 WIP</a:t>
              </a:r>
            </a:p>
          </p:txBody>
        </p:sp>
        <p:sp>
          <p:nvSpPr>
            <p:cNvPr id="228" name="Rounded Rectangle 21">
              <a:extLst>
                <a:ext uri="{FF2B5EF4-FFF2-40B4-BE49-F238E27FC236}">
                  <a16:creationId xmlns:a16="http://schemas.microsoft.com/office/drawing/2014/main" id="{791AC1D2-7DC9-48E9-BFD4-62C1D4A15E82}"/>
                </a:ext>
              </a:extLst>
            </p:cNvPr>
            <p:cNvSpPr/>
            <p:nvPr/>
          </p:nvSpPr>
          <p:spPr bwMode="invGray">
            <a:xfrm>
              <a:off x="6938167" y="4010016"/>
              <a:ext cx="609840" cy="173866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Time Recording</a:t>
              </a:r>
            </a:p>
          </p:txBody>
        </p:sp>
        <p:sp>
          <p:nvSpPr>
            <p:cNvPr id="229" name="Rounded Rectangle 21">
              <a:extLst>
                <a:ext uri="{FF2B5EF4-FFF2-40B4-BE49-F238E27FC236}">
                  <a16:creationId xmlns:a16="http://schemas.microsoft.com/office/drawing/2014/main" id="{DD30BDFD-5662-410D-9CF0-130463ADE6C0}"/>
                </a:ext>
              </a:extLst>
            </p:cNvPr>
            <p:cNvSpPr/>
            <p:nvPr/>
          </p:nvSpPr>
          <p:spPr bwMode="invGray">
            <a:xfrm>
              <a:off x="7591279" y="4312555"/>
              <a:ext cx="670824" cy="255122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Travel &amp; Expense</a:t>
              </a:r>
            </a:p>
          </p:txBody>
        </p:sp>
        <p:sp>
          <p:nvSpPr>
            <p:cNvPr id="230" name="Rounded Rectangle 21">
              <a:extLst>
                <a:ext uri="{FF2B5EF4-FFF2-40B4-BE49-F238E27FC236}">
                  <a16:creationId xmlns:a16="http://schemas.microsoft.com/office/drawing/2014/main" id="{AB0FF754-820B-4307-A93F-F968B8EFD84C}"/>
                </a:ext>
              </a:extLst>
            </p:cNvPr>
            <p:cNvSpPr/>
            <p:nvPr/>
          </p:nvSpPr>
          <p:spPr bwMode="invGray">
            <a:xfrm>
              <a:off x="6240107" y="4335456"/>
              <a:ext cx="811697" cy="209321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Services Procurement</a:t>
              </a:r>
            </a:p>
          </p:txBody>
        </p:sp>
        <p:sp>
          <p:nvSpPr>
            <p:cNvPr id="231" name="Rounded Rectangle 21">
              <a:extLst>
                <a:ext uri="{FF2B5EF4-FFF2-40B4-BE49-F238E27FC236}">
                  <a16:creationId xmlns:a16="http://schemas.microsoft.com/office/drawing/2014/main" id="{D16AAFC4-148F-49DE-9153-9F43DF9CE07B}"/>
                </a:ext>
              </a:extLst>
            </p:cNvPr>
            <p:cNvSpPr/>
            <p:nvPr/>
          </p:nvSpPr>
          <p:spPr bwMode="invGray">
            <a:xfrm>
              <a:off x="7557032" y="5278681"/>
              <a:ext cx="723708" cy="279756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Revenue Recognition</a:t>
              </a:r>
            </a:p>
          </p:txBody>
        </p:sp>
        <p:sp>
          <p:nvSpPr>
            <p:cNvPr id="232" name="Rounded Rectangle 25">
              <a:extLst>
                <a:ext uri="{FF2B5EF4-FFF2-40B4-BE49-F238E27FC236}">
                  <a16:creationId xmlns:a16="http://schemas.microsoft.com/office/drawing/2014/main" id="{772E5610-3A7A-41E8-A96A-5E6CA12B6351}"/>
                </a:ext>
              </a:extLst>
            </p:cNvPr>
            <p:cNvSpPr/>
            <p:nvPr/>
          </p:nvSpPr>
          <p:spPr bwMode="invGray">
            <a:xfrm>
              <a:off x="9650460" y="3985219"/>
              <a:ext cx="609840" cy="180000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Accounts Receivable</a:t>
              </a:r>
            </a:p>
          </p:txBody>
        </p:sp>
        <p:sp>
          <p:nvSpPr>
            <p:cNvPr id="233" name="Rounded Rectangle 29">
              <a:extLst>
                <a:ext uri="{FF2B5EF4-FFF2-40B4-BE49-F238E27FC236}">
                  <a16:creationId xmlns:a16="http://schemas.microsoft.com/office/drawing/2014/main" id="{E67EF0B8-F1FC-4DA8-A145-646841354994}"/>
                </a:ext>
              </a:extLst>
            </p:cNvPr>
            <p:cNvSpPr/>
            <p:nvPr/>
          </p:nvSpPr>
          <p:spPr bwMode="invGray">
            <a:xfrm>
              <a:off x="8834417" y="5289376"/>
              <a:ext cx="860042" cy="258367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Engagement Analytics</a:t>
              </a:r>
            </a:p>
          </p:txBody>
        </p:sp>
        <p:sp>
          <p:nvSpPr>
            <p:cNvPr id="234" name="Rounded Rectangle 29">
              <a:extLst>
                <a:ext uri="{FF2B5EF4-FFF2-40B4-BE49-F238E27FC236}">
                  <a16:creationId xmlns:a16="http://schemas.microsoft.com/office/drawing/2014/main" id="{EBFA35BA-B96C-4D8E-874B-49116669E15B}"/>
                </a:ext>
              </a:extLst>
            </p:cNvPr>
            <p:cNvSpPr/>
            <p:nvPr/>
          </p:nvSpPr>
          <p:spPr bwMode="invGray">
            <a:xfrm>
              <a:off x="8908845" y="4312555"/>
              <a:ext cx="687773" cy="255122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Engagement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Billing</a:t>
              </a:r>
            </a:p>
          </p:txBody>
        </p:sp>
        <p:sp>
          <p:nvSpPr>
            <p:cNvPr id="235" name="Rounded Rectangle 26">
              <a:extLst>
                <a:ext uri="{FF2B5EF4-FFF2-40B4-BE49-F238E27FC236}">
                  <a16:creationId xmlns:a16="http://schemas.microsoft.com/office/drawing/2014/main" id="{238798A0-0C77-4AF0-8DEB-CD814B30515D}"/>
                </a:ext>
              </a:extLst>
            </p:cNvPr>
            <p:cNvSpPr/>
            <p:nvPr/>
          </p:nvSpPr>
          <p:spPr bwMode="invGray">
            <a:xfrm>
              <a:off x="10230499" y="4322848"/>
              <a:ext cx="684204" cy="234537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redit + Collections</a:t>
              </a:r>
            </a:p>
          </p:txBody>
        </p:sp>
        <p:sp>
          <p:nvSpPr>
            <p:cNvPr id="237" name="Rounded Rectangle 28">
              <a:extLst>
                <a:ext uri="{FF2B5EF4-FFF2-40B4-BE49-F238E27FC236}">
                  <a16:creationId xmlns:a16="http://schemas.microsoft.com/office/drawing/2014/main" id="{E2E25CE7-3A73-4015-B02E-1038237CF2BB}"/>
                </a:ext>
              </a:extLst>
            </p:cNvPr>
            <p:cNvSpPr/>
            <p:nvPr/>
          </p:nvSpPr>
          <p:spPr bwMode="invGray">
            <a:xfrm>
              <a:off x="10209955" y="5289376"/>
              <a:ext cx="860042" cy="258367"/>
            </a:xfrm>
            <a:prstGeom prst="roundRect">
              <a:avLst/>
            </a:prstGeom>
            <a:solidFill>
              <a:schemeClr val="bg1"/>
            </a:solidFill>
            <a:ln w="6350" algn="ctr">
              <a:noFill/>
              <a:miter lim="800000"/>
              <a:headEnd/>
              <a:tailEnd/>
            </a:ln>
          </p:spPr>
          <p:txBody>
            <a:bodyPr wrap="square" lIns="0" tIns="49756" rIns="0" bIns="49756" rtlCol="0" anchor="ctr"/>
            <a:lstStyle/>
            <a:p>
              <a:pPr algn="ctr" defTabSz="631774" fontAlgn="base">
                <a:spcBef>
                  <a:spcPts val="12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Engagement Close</a:t>
              </a:r>
            </a:p>
          </p:txBody>
        </p:sp>
        <p:cxnSp>
          <p:nvCxnSpPr>
            <p:cNvPr id="244" name="Straight Arrow Connector 243">
              <a:extLst>
                <a:ext uri="{FF2B5EF4-FFF2-40B4-BE49-F238E27FC236}">
                  <a16:creationId xmlns:a16="http://schemas.microsoft.com/office/drawing/2014/main" id="{E2D1F568-D3B8-4267-B0AE-FCD6C4005BEF}"/>
                </a:ext>
              </a:extLst>
            </p:cNvPr>
            <p:cNvCxnSpPr>
              <a:cxnSpLocks/>
            </p:cNvCxnSpPr>
            <p:nvPr/>
          </p:nvCxnSpPr>
          <p:spPr>
            <a:xfrm>
              <a:off x="5636856" y="4915687"/>
              <a:ext cx="528500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245" name="Straight Arrow Connector 244">
              <a:extLst>
                <a:ext uri="{FF2B5EF4-FFF2-40B4-BE49-F238E27FC236}">
                  <a16:creationId xmlns:a16="http://schemas.microsoft.com/office/drawing/2014/main" id="{2D0379C4-D88E-4A9E-AAAF-63F721E9CE33}"/>
                </a:ext>
              </a:extLst>
            </p:cNvPr>
            <p:cNvCxnSpPr>
              <a:cxnSpLocks/>
            </p:cNvCxnSpPr>
            <p:nvPr/>
          </p:nvCxnSpPr>
          <p:spPr>
            <a:xfrm>
              <a:off x="8336562" y="4915687"/>
              <a:ext cx="528500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2679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itle 1">
            <a:extLst>
              <a:ext uri="{FF2B5EF4-FFF2-40B4-BE49-F238E27FC236}">
                <a16:creationId xmlns:a16="http://schemas.microsoft.com/office/drawing/2014/main" id="{92BD9452-917D-45B2-AA71-2D23D9C149E0}"/>
              </a:ext>
            </a:extLst>
          </p:cNvPr>
          <p:cNvSpPr txBox="1">
            <a:spLocks/>
          </p:cNvSpPr>
          <p:nvPr/>
        </p:nvSpPr>
        <p:spPr bwMode="black">
          <a:xfrm>
            <a:off x="153475" y="76534"/>
            <a:ext cx="11177742" cy="7075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632"/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lerate business growth</a:t>
            </a:r>
          </a:p>
          <a:p>
            <a:pPr defTabSz="931632"/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798" i="1" u="sng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Product-Centric Industries </a:t>
            </a:r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with end-to-end operational processes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C64D3D5-876E-4999-B0A0-B9AEF2ADDAF3}"/>
              </a:ext>
            </a:extLst>
          </p:cNvPr>
          <p:cNvSpPr/>
          <p:nvPr/>
        </p:nvSpPr>
        <p:spPr bwMode="gray">
          <a:xfrm>
            <a:off x="1457754" y="1433110"/>
            <a:ext cx="10054020" cy="5698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3304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6" kern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5E97D523-4EB3-411A-898F-34E848BA9C2D}"/>
              </a:ext>
            </a:extLst>
          </p:cNvPr>
          <p:cNvSpPr/>
          <p:nvPr/>
        </p:nvSpPr>
        <p:spPr bwMode="gray">
          <a:xfrm>
            <a:off x="1457968" y="1997562"/>
            <a:ext cx="10053783" cy="3056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2482">
              <a:lnSpc>
                <a:spcPct val="90000"/>
              </a:lnSpc>
              <a:defRPr/>
            </a:pPr>
            <a:r>
              <a:rPr lang="en-US" sz="1100" b="1" kern="0">
                <a:solidFill>
                  <a:srgbClr val="000000"/>
                </a:solidFill>
              </a:rPr>
              <a:t>Produce &amp; Sell Standard Products / MTS |  Lot Size One / MTO  |   Engineer Products and Systems / ETO </a:t>
            </a:r>
            <a:r>
              <a:rPr lang="en-US" sz="1050" i="1" kern="0">
                <a:solidFill>
                  <a:srgbClr val="000000"/>
                </a:solidFill>
              </a:rPr>
              <a:t> </a:t>
            </a:r>
            <a:endParaRPr lang="en-IN" sz="1100" b="1" kern="0">
              <a:solidFill>
                <a:srgbClr val="000000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E096D8C-2023-4957-A69C-E0BC0EAB5F5E}"/>
              </a:ext>
            </a:extLst>
          </p:cNvPr>
          <p:cNvSpPr/>
          <p:nvPr/>
        </p:nvSpPr>
        <p:spPr bwMode="gray">
          <a:xfrm>
            <a:off x="1457210" y="2299498"/>
            <a:ext cx="10053783" cy="579507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61" tIns="71887" rIns="89861" bIns="71887" rtlCol="0" anchor="ctr"/>
          <a:lstStyle/>
          <a:p>
            <a:pPr algn="ctr" defTabSz="91284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5" kern="0" err="1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EA7F0CF-7447-4548-BE91-30AFEBD69756}"/>
              </a:ext>
            </a:extLst>
          </p:cNvPr>
          <p:cNvSpPr txBox="1"/>
          <p:nvPr/>
        </p:nvSpPr>
        <p:spPr>
          <a:xfrm>
            <a:off x="3078954" y="1492691"/>
            <a:ext cx="767842" cy="1538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Automotive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6828EFC-1F55-47AE-B613-65BAB79AC14A}"/>
              </a:ext>
            </a:extLst>
          </p:cNvPr>
          <p:cNvSpPr txBox="1"/>
          <p:nvPr/>
        </p:nvSpPr>
        <p:spPr>
          <a:xfrm>
            <a:off x="4651171" y="1492711"/>
            <a:ext cx="700262" cy="153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High Tech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736EA99-D6EF-42AE-8AF4-D9A093F7EA97}"/>
              </a:ext>
            </a:extLst>
          </p:cNvPr>
          <p:cNvSpPr txBox="1"/>
          <p:nvPr/>
        </p:nvSpPr>
        <p:spPr>
          <a:xfrm>
            <a:off x="6155808" y="1492687"/>
            <a:ext cx="468436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IM&amp;C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81F56B0-F76D-465E-885F-39B1432E0013}"/>
              </a:ext>
            </a:extLst>
          </p:cNvPr>
          <p:cNvSpPr txBox="1"/>
          <p:nvPr/>
        </p:nvSpPr>
        <p:spPr>
          <a:xfrm>
            <a:off x="8794735" y="1492687"/>
            <a:ext cx="855488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Mill Products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A964D2E-41B9-4AAD-9A5F-7677F143C3BE}"/>
              </a:ext>
            </a:extLst>
          </p:cNvPr>
          <p:cNvSpPr txBox="1"/>
          <p:nvPr/>
        </p:nvSpPr>
        <p:spPr>
          <a:xfrm>
            <a:off x="1494680" y="1595710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Industrie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A45F085-CC6E-492B-8652-A09DADBBF349}"/>
              </a:ext>
            </a:extLst>
          </p:cNvPr>
          <p:cNvSpPr txBox="1"/>
          <p:nvPr/>
        </p:nvSpPr>
        <p:spPr>
          <a:xfrm>
            <a:off x="1504751" y="2063681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Scenario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graphicFrame>
        <p:nvGraphicFramePr>
          <p:cNvPr id="101" name="Table 100">
            <a:extLst>
              <a:ext uri="{FF2B5EF4-FFF2-40B4-BE49-F238E27FC236}">
                <a16:creationId xmlns:a16="http://schemas.microsoft.com/office/drawing/2014/main" id="{B2F9EF92-F669-4D59-A1FC-4ABB032E4692}"/>
              </a:ext>
            </a:extLst>
          </p:cNvPr>
          <p:cNvGraphicFramePr>
            <a:graphicFrameLocks noGrp="1"/>
          </p:cNvGraphicFramePr>
          <p:nvPr/>
        </p:nvGraphicFramePr>
        <p:xfrm>
          <a:off x="2676248" y="2324757"/>
          <a:ext cx="8834747" cy="575486"/>
        </p:xfrm>
        <a:graphic>
          <a:graphicData uri="http://schemas.openxmlformats.org/drawingml/2006/table">
            <a:tbl>
              <a:tblPr/>
              <a:tblGrid>
                <a:gridCol w="2420829">
                  <a:extLst>
                    <a:ext uri="{9D8B030D-6E8A-4147-A177-3AD203B41FA5}">
                      <a16:colId xmlns:a16="http://schemas.microsoft.com/office/drawing/2014/main" val="3843060819"/>
                    </a:ext>
                  </a:extLst>
                </a:gridCol>
                <a:gridCol w="680242">
                  <a:extLst>
                    <a:ext uri="{9D8B030D-6E8A-4147-A177-3AD203B41FA5}">
                      <a16:colId xmlns:a16="http://schemas.microsoft.com/office/drawing/2014/main" val="667175455"/>
                    </a:ext>
                  </a:extLst>
                </a:gridCol>
                <a:gridCol w="3061097">
                  <a:extLst>
                    <a:ext uri="{9D8B030D-6E8A-4147-A177-3AD203B41FA5}">
                      <a16:colId xmlns:a16="http://schemas.microsoft.com/office/drawing/2014/main" val="2272320686"/>
                    </a:ext>
                  </a:extLst>
                </a:gridCol>
                <a:gridCol w="2672579">
                  <a:extLst>
                    <a:ext uri="{9D8B030D-6E8A-4147-A177-3AD203B41FA5}">
                      <a16:colId xmlns:a16="http://schemas.microsoft.com/office/drawing/2014/main" val="2140908244"/>
                    </a:ext>
                  </a:extLst>
                </a:gridCol>
              </a:tblGrid>
              <a:tr h="575486">
                <a:tc>
                  <a:txBody>
                    <a:bodyPr/>
                    <a:lstStyle/>
                    <a:p>
                      <a:pPr marL="171450" marR="0" lvl="0" indent="-171450" algn="l" defTabSz="10885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GB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rly Product Designer 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GB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st in Time, Just in Sequence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GB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y Scheduling</a:t>
                      </a: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</a:pPr>
                      <a:endParaRPr lang="en-GB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and Driven Replenishment</a:t>
                      </a:r>
                      <a:endParaRPr lang="en-GB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Available to Promise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IN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ctive MRP</a:t>
                      </a: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GB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Variant Configuration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ject Controlling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D Quality Management </a:t>
                      </a:r>
                      <a:endParaRPr lang="en-GB" sz="10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490308"/>
                  </a:ext>
                </a:extLst>
              </a:tr>
            </a:tbl>
          </a:graphicData>
        </a:graphic>
      </p:graphicFrame>
      <p:sp>
        <p:nvSpPr>
          <p:cNvPr id="105" name="TextBox 104">
            <a:extLst>
              <a:ext uri="{FF2B5EF4-FFF2-40B4-BE49-F238E27FC236}">
                <a16:creationId xmlns:a16="http://schemas.microsoft.com/office/drawing/2014/main" id="{FA58E536-DDA0-453E-8E04-5B71907A58BA}"/>
              </a:ext>
            </a:extLst>
          </p:cNvPr>
          <p:cNvSpPr txBox="1"/>
          <p:nvPr/>
        </p:nvSpPr>
        <p:spPr>
          <a:xfrm>
            <a:off x="1494681" y="2490777"/>
            <a:ext cx="1135045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Differentiation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ADCA8F5F-C15A-44A2-A285-E89D96E1B252}"/>
              </a:ext>
            </a:extLst>
          </p:cNvPr>
          <p:cNvSpPr/>
          <p:nvPr/>
        </p:nvSpPr>
        <p:spPr bwMode="gray">
          <a:xfrm>
            <a:off x="526550" y="1422402"/>
            <a:ext cx="882192" cy="14566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CA" sz="11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16200000" scaled="1"/>
                </a:gradFill>
                <a:ea typeface="ＭＳ Ｐゴシック"/>
                <a:cs typeface="Arial"/>
              </a:rPr>
              <a:t>Product-Centric Industrie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70B31B1-464F-4F02-BE24-2E7C401C15D2}"/>
              </a:ext>
            </a:extLst>
          </p:cNvPr>
          <p:cNvSpPr txBox="1"/>
          <p:nvPr/>
        </p:nvSpPr>
        <p:spPr>
          <a:xfrm>
            <a:off x="5506026" y="1768326"/>
            <a:ext cx="623935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Utilitie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DA7D4F0-3805-4826-8552-5124C9D7F673}"/>
              </a:ext>
            </a:extLst>
          </p:cNvPr>
          <p:cNvSpPr txBox="1"/>
          <p:nvPr/>
        </p:nvSpPr>
        <p:spPr>
          <a:xfrm>
            <a:off x="6681481" y="1768326"/>
            <a:ext cx="748749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Oil &amp; Gas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5E33046-2646-434B-8A1F-26A2AC386244}"/>
              </a:ext>
            </a:extLst>
          </p:cNvPr>
          <p:cNvSpPr txBox="1"/>
          <p:nvPr/>
        </p:nvSpPr>
        <p:spPr>
          <a:xfrm>
            <a:off x="7972517" y="1768326"/>
            <a:ext cx="748749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Chemicals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6DBE13AD-ACC1-4F9C-A08F-1EA603BE06B9}"/>
              </a:ext>
            </a:extLst>
          </p:cNvPr>
          <p:cNvSpPr txBox="1"/>
          <p:nvPr/>
        </p:nvSpPr>
        <p:spPr>
          <a:xfrm>
            <a:off x="9325893" y="1768326"/>
            <a:ext cx="1402758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Aerospace &amp; Defense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6A0521E5-52E1-4009-999B-99BBBE1FD190}"/>
              </a:ext>
            </a:extLst>
          </p:cNvPr>
          <p:cNvSpPr txBox="1"/>
          <p:nvPr/>
        </p:nvSpPr>
        <p:spPr>
          <a:xfrm>
            <a:off x="10454599" y="1492687"/>
            <a:ext cx="622818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Retail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048DA6BB-26F0-4C1A-A767-436F8F62C705}"/>
              </a:ext>
            </a:extLst>
          </p:cNvPr>
          <p:cNvSpPr txBox="1"/>
          <p:nvPr/>
        </p:nvSpPr>
        <p:spPr>
          <a:xfrm>
            <a:off x="3538163" y="1768326"/>
            <a:ext cx="1402758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Wholesale Distribution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2837682A-2206-4825-B554-8A5293509930}"/>
              </a:ext>
            </a:extLst>
          </p:cNvPr>
          <p:cNvSpPr txBox="1"/>
          <p:nvPr/>
        </p:nvSpPr>
        <p:spPr>
          <a:xfrm>
            <a:off x="7428621" y="1492687"/>
            <a:ext cx="561738" cy="1538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b="1" kern="0">
                <a:ea typeface="Arial Unicode MS" pitchFamily="34" charset="-128"/>
                <a:cs typeface="Arial Unicode MS" pitchFamily="34" charset="-128"/>
              </a:rPr>
              <a:t>Mining</a:t>
            </a:r>
          </a:p>
        </p:txBody>
      </p:sp>
      <p:pic>
        <p:nvPicPr>
          <p:cNvPr id="169" name="Picture 168">
            <a:extLst>
              <a:ext uri="{FF2B5EF4-FFF2-40B4-BE49-F238E27FC236}">
                <a16:creationId xmlns:a16="http://schemas.microsoft.com/office/drawing/2014/main" id="{205A0AF4-6AB4-4A2D-91B4-3BBE27E63A8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6056" y="1409970"/>
            <a:ext cx="319244" cy="319244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2868ADC2-4304-4D2A-9E3E-6733956ED33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0429" y="1388693"/>
            <a:ext cx="368074" cy="361803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098C8B62-2BEF-4482-9B60-E2F3E749FE2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4198" y="1398508"/>
            <a:ext cx="348098" cy="342168"/>
          </a:xfrm>
          <a:prstGeom prst="rect">
            <a:avLst/>
          </a:prstGeom>
        </p:spPr>
      </p:pic>
      <p:pic>
        <p:nvPicPr>
          <p:cNvPr id="172" name="Picture 171">
            <a:extLst>
              <a:ext uri="{FF2B5EF4-FFF2-40B4-BE49-F238E27FC236}">
                <a16:creationId xmlns:a16="http://schemas.microsoft.com/office/drawing/2014/main" id="{E06DA19E-B652-4358-87BA-FA4C4BECD94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6063" y="1427417"/>
            <a:ext cx="289284" cy="284355"/>
          </a:xfrm>
          <a:prstGeom prst="rect">
            <a:avLst/>
          </a:prstGeom>
        </p:spPr>
      </p:pic>
      <p:pic>
        <p:nvPicPr>
          <p:cNvPr id="173" name="Picture 172">
            <a:extLst>
              <a:ext uri="{FF2B5EF4-FFF2-40B4-BE49-F238E27FC236}">
                <a16:creationId xmlns:a16="http://schemas.microsoft.com/office/drawing/2014/main" id="{043B8CEC-E3B1-4842-AB8D-BC95D2360A1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61" y="1369619"/>
            <a:ext cx="406876" cy="399944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690E2BAF-D2FA-42B7-BC3E-D7E379EA83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20431" y="1694023"/>
            <a:ext cx="302416" cy="302416"/>
          </a:xfrm>
          <a:prstGeom prst="rect">
            <a:avLst/>
          </a:prstGeom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FF7B1B79-B3D7-4EFC-A782-0A4C55A8F5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05668" y="1687886"/>
            <a:ext cx="314695" cy="314695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9A09D6E0-029E-4475-B0B2-49123E3BC9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53193" y="1700153"/>
            <a:ext cx="290154" cy="290154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C09FC9A5-EC4A-4F67-A283-D571938712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61277" y="1371778"/>
            <a:ext cx="395631" cy="395631"/>
          </a:xfrm>
          <a:prstGeom prst="rect">
            <a:avLst/>
          </a:prstGeom>
        </p:spPr>
      </p:pic>
      <p:pic>
        <p:nvPicPr>
          <p:cNvPr id="178" name="Picture 177">
            <a:extLst>
              <a:ext uri="{FF2B5EF4-FFF2-40B4-BE49-F238E27FC236}">
                <a16:creationId xmlns:a16="http://schemas.microsoft.com/office/drawing/2014/main" id="{A78119AA-2D01-4046-9CE8-ECBF8B564B5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61360" y="1696292"/>
            <a:ext cx="297876" cy="297876"/>
          </a:xfrm>
          <a:prstGeom prst="rect">
            <a:avLst/>
          </a:prstGeom>
        </p:spPr>
      </p:pic>
      <p:pic>
        <p:nvPicPr>
          <p:cNvPr id="179" name="Picture 178">
            <a:extLst>
              <a:ext uri="{FF2B5EF4-FFF2-40B4-BE49-F238E27FC236}">
                <a16:creationId xmlns:a16="http://schemas.microsoft.com/office/drawing/2014/main" id="{43E9BA2E-89EB-45B9-BF25-C3CC93D247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25325" y="1689656"/>
            <a:ext cx="311150" cy="311150"/>
          </a:xfrm>
          <a:prstGeom prst="rect">
            <a:avLst/>
          </a:prstGeom>
        </p:spPr>
      </p:pic>
      <p:grpSp>
        <p:nvGrpSpPr>
          <p:cNvPr id="180" name="Group 179">
            <a:extLst>
              <a:ext uri="{FF2B5EF4-FFF2-40B4-BE49-F238E27FC236}">
                <a16:creationId xmlns:a16="http://schemas.microsoft.com/office/drawing/2014/main" id="{A3E4A127-BFDF-4B28-A808-15C14EBDD885}"/>
              </a:ext>
            </a:extLst>
          </p:cNvPr>
          <p:cNvGrpSpPr/>
          <p:nvPr/>
        </p:nvGrpSpPr>
        <p:grpSpPr>
          <a:xfrm>
            <a:off x="685354" y="3196379"/>
            <a:ext cx="10826283" cy="287650"/>
            <a:chOff x="685712" y="3107816"/>
            <a:chExt cx="9411708" cy="287800"/>
          </a:xfrm>
        </p:grpSpPr>
        <p:sp>
          <p:nvSpPr>
            <p:cNvPr id="181" name="Arrow: Pentagon 86">
              <a:extLst>
                <a:ext uri="{FF2B5EF4-FFF2-40B4-BE49-F238E27FC236}">
                  <a16:creationId xmlns:a16="http://schemas.microsoft.com/office/drawing/2014/main" id="{9133BF26-62A4-483E-B554-29243EE62606}"/>
                </a:ext>
              </a:extLst>
            </p:cNvPr>
            <p:cNvSpPr/>
            <p:nvPr/>
          </p:nvSpPr>
          <p:spPr>
            <a:xfrm>
              <a:off x="7504444" y="3107816"/>
              <a:ext cx="2592976" cy="287800"/>
            </a:xfrm>
            <a:prstGeom prst="homePlate">
              <a:avLst/>
            </a:prstGeom>
            <a:solidFill>
              <a:srgbClr val="4CC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/>
                </a:rPr>
                <a:t>Order to Cash</a:t>
              </a:r>
            </a:p>
          </p:txBody>
        </p:sp>
        <p:sp>
          <p:nvSpPr>
            <p:cNvPr id="182" name="Arrow: Pentagon 87">
              <a:extLst>
                <a:ext uri="{FF2B5EF4-FFF2-40B4-BE49-F238E27FC236}">
                  <a16:creationId xmlns:a16="http://schemas.microsoft.com/office/drawing/2014/main" id="{49C1B44F-3816-4CB8-AF81-C11034EA412A}"/>
                </a:ext>
              </a:extLst>
            </p:cNvPr>
            <p:cNvSpPr/>
            <p:nvPr/>
          </p:nvSpPr>
          <p:spPr>
            <a:xfrm>
              <a:off x="5329375" y="3107816"/>
              <a:ext cx="2647060" cy="287800"/>
            </a:xfrm>
            <a:prstGeom prst="homePlate">
              <a:avLst/>
            </a:prstGeom>
            <a:solidFill>
              <a:srgbClr val="87D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endParaRPr lang="en-US" sz="1400" b="1">
                <a:solidFill>
                  <a:srgbClr val="000000"/>
                </a:solidFill>
                <a:latin typeface="Arial"/>
              </a:endParaRPr>
            </a:p>
            <a:p>
              <a:pPr algn="ctr" defTabSz="1087470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/>
                </a:rPr>
                <a:t>Plan to Fulfill</a:t>
              </a:r>
            </a:p>
            <a:p>
              <a:pPr algn="ctr" defTabSz="1087470">
                <a:defRPr/>
              </a:pPr>
              <a:endParaRPr lang="en-US" sz="1400" b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3" name="Arrow: Pentagon 88">
              <a:extLst>
                <a:ext uri="{FF2B5EF4-FFF2-40B4-BE49-F238E27FC236}">
                  <a16:creationId xmlns:a16="http://schemas.microsoft.com/office/drawing/2014/main" id="{88745758-C3F9-4710-9822-1FF5776E6CA4}"/>
                </a:ext>
              </a:extLst>
            </p:cNvPr>
            <p:cNvSpPr/>
            <p:nvPr/>
          </p:nvSpPr>
          <p:spPr>
            <a:xfrm>
              <a:off x="2717845" y="3107816"/>
              <a:ext cx="2816821" cy="287800"/>
            </a:xfrm>
            <a:prstGeom prst="homePlate">
              <a:avLst/>
            </a:prstGeom>
            <a:solidFill>
              <a:srgbClr val="008B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chemeClr val="bg1"/>
                  </a:solidFill>
                  <a:latin typeface="Arial"/>
                </a:rPr>
                <a:t>Source to Pay</a:t>
              </a:r>
            </a:p>
          </p:txBody>
        </p:sp>
        <p:sp>
          <p:nvSpPr>
            <p:cNvPr id="184" name="Arrow: Pentagon 90">
              <a:extLst>
                <a:ext uri="{FF2B5EF4-FFF2-40B4-BE49-F238E27FC236}">
                  <a16:creationId xmlns:a16="http://schemas.microsoft.com/office/drawing/2014/main" id="{72243897-51B3-400B-A9C5-F80D2195084F}"/>
                </a:ext>
              </a:extLst>
            </p:cNvPr>
            <p:cNvSpPr/>
            <p:nvPr/>
          </p:nvSpPr>
          <p:spPr>
            <a:xfrm>
              <a:off x="685712" y="3107816"/>
              <a:ext cx="2438785" cy="287800"/>
            </a:xfrm>
            <a:prstGeom prst="homePlate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r>
                <a:rPr lang="en-US" sz="1400" b="1">
                  <a:solidFill>
                    <a:schemeClr val="bg1"/>
                  </a:solidFill>
                  <a:latin typeface="Arial"/>
                </a:rPr>
                <a:t>Idea to Market</a:t>
              </a:r>
            </a:p>
          </p:txBody>
        </p:sp>
      </p:grpSp>
      <p:sp>
        <p:nvSpPr>
          <p:cNvPr id="185" name="TextBox 184">
            <a:extLst>
              <a:ext uri="{FF2B5EF4-FFF2-40B4-BE49-F238E27FC236}">
                <a16:creationId xmlns:a16="http://schemas.microsoft.com/office/drawing/2014/main" id="{0A765500-2A3F-4105-BE22-1371B0510F70}"/>
              </a:ext>
            </a:extLst>
          </p:cNvPr>
          <p:cNvSpPr txBox="1"/>
          <p:nvPr/>
        </p:nvSpPr>
        <p:spPr>
          <a:xfrm>
            <a:off x="691592" y="3569211"/>
            <a:ext cx="4012712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kern="0">
                <a:ea typeface="Arial Unicode MS" pitchFamily="34" charset="-128"/>
              </a:rPr>
              <a:t>Example - Make-to-Stock Scenario Value Chain: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2CB92E8-89AF-4014-B2E9-10991031C400}"/>
              </a:ext>
            </a:extLst>
          </p:cNvPr>
          <p:cNvGrpSpPr/>
          <p:nvPr/>
        </p:nvGrpSpPr>
        <p:grpSpPr>
          <a:xfrm>
            <a:off x="1702459" y="3954126"/>
            <a:ext cx="8912858" cy="1914891"/>
            <a:chOff x="1703345" y="3954399"/>
            <a:chExt cx="8917500" cy="1915889"/>
          </a:xfrm>
        </p:grpSpPr>
        <p:cxnSp>
          <p:nvCxnSpPr>
            <p:cNvPr id="358" name="Straight Arrow Connector 357">
              <a:extLst>
                <a:ext uri="{FF2B5EF4-FFF2-40B4-BE49-F238E27FC236}">
                  <a16:creationId xmlns:a16="http://schemas.microsoft.com/office/drawing/2014/main" id="{A9C463EA-1587-4F06-A0B7-50B3BA0E1B29}"/>
                </a:ext>
              </a:extLst>
            </p:cNvPr>
            <p:cNvCxnSpPr>
              <a:cxnSpLocks/>
              <a:stCxn id="400" idx="3"/>
              <a:endCxn id="398" idx="1"/>
            </p:cNvCxnSpPr>
            <p:nvPr/>
          </p:nvCxnSpPr>
          <p:spPr>
            <a:xfrm>
              <a:off x="5516021" y="4916575"/>
              <a:ext cx="1197584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59" name="Straight Arrow Connector 358">
              <a:extLst>
                <a:ext uri="{FF2B5EF4-FFF2-40B4-BE49-F238E27FC236}">
                  <a16:creationId xmlns:a16="http://schemas.microsoft.com/office/drawing/2014/main" id="{A9800AD5-61F6-4A03-AA3D-F8906AFDF52A}"/>
                </a:ext>
              </a:extLst>
            </p:cNvPr>
            <p:cNvCxnSpPr>
              <a:cxnSpLocks/>
            </p:cNvCxnSpPr>
            <p:nvPr/>
          </p:nvCxnSpPr>
          <p:spPr>
            <a:xfrm>
              <a:off x="2057565" y="4916575"/>
              <a:ext cx="1116636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grpSp>
          <p:nvGrpSpPr>
            <p:cNvPr id="360" name="Group 359">
              <a:extLst>
                <a:ext uri="{FF2B5EF4-FFF2-40B4-BE49-F238E27FC236}">
                  <a16:creationId xmlns:a16="http://schemas.microsoft.com/office/drawing/2014/main" id="{75FE7F11-36BD-4975-86AE-A509AB374737}"/>
                </a:ext>
              </a:extLst>
            </p:cNvPr>
            <p:cNvGrpSpPr/>
            <p:nvPr/>
          </p:nvGrpSpPr>
          <p:grpSpPr>
            <a:xfrm>
              <a:off x="9543028" y="4812461"/>
              <a:ext cx="208228" cy="208228"/>
              <a:chOff x="2339961" y="1995590"/>
              <a:chExt cx="361072" cy="361072"/>
            </a:xfrm>
          </p:grpSpPr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07681BD2-C817-479E-99FE-B37716181186}"/>
                  </a:ext>
                </a:extLst>
              </p:cNvPr>
              <p:cNvSpPr/>
              <p:nvPr/>
            </p:nvSpPr>
            <p:spPr bwMode="gray">
              <a:xfrm>
                <a:off x="2339961" y="1995590"/>
                <a:ext cx="361072" cy="361072"/>
              </a:xfrm>
              <a:prstGeom prst="ellipse">
                <a:avLst/>
              </a:prstGeom>
              <a:solidFill>
                <a:schemeClr val="bg1"/>
              </a:solidFill>
              <a:ln w="28575" algn="ctr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 defTabSz="1087470">
                  <a:defRPr/>
                </a:pPr>
                <a:endParaRPr lang="en-US" sz="1795">
                  <a:ln w="6350"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  <p:pic>
            <p:nvPicPr>
              <p:cNvPr id="362" name="Picture 361">
                <a:extLst>
                  <a:ext uri="{FF2B5EF4-FFF2-40B4-BE49-F238E27FC236}">
                    <a16:creationId xmlns:a16="http://schemas.microsoft.com/office/drawing/2014/main" id="{2DBCCFFC-02AA-4DD8-ABF3-9F45E82907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rcRect/>
              <a:stretch/>
            </p:blipFill>
            <p:spPr>
              <a:xfrm>
                <a:off x="2411589" y="2073814"/>
                <a:ext cx="214208" cy="214208"/>
              </a:xfrm>
              <a:prstGeom prst="rect">
                <a:avLst/>
              </a:prstGeom>
            </p:spPr>
          </p:pic>
        </p:grpSp>
        <p:grpSp>
          <p:nvGrpSpPr>
            <p:cNvPr id="363" name="Group 362">
              <a:extLst>
                <a:ext uri="{FF2B5EF4-FFF2-40B4-BE49-F238E27FC236}">
                  <a16:creationId xmlns:a16="http://schemas.microsoft.com/office/drawing/2014/main" id="{72914F78-620A-468A-8BCA-35BDA3DEB044}"/>
                </a:ext>
              </a:extLst>
            </p:cNvPr>
            <p:cNvGrpSpPr/>
            <p:nvPr/>
          </p:nvGrpSpPr>
          <p:grpSpPr>
            <a:xfrm>
              <a:off x="5996900" y="4812461"/>
              <a:ext cx="208228" cy="208228"/>
              <a:chOff x="4511483" y="1979996"/>
              <a:chExt cx="361072" cy="361072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83B2CFA7-7833-4226-A04D-9CE93F6BA844}"/>
                  </a:ext>
                </a:extLst>
              </p:cNvPr>
              <p:cNvSpPr/>
              <p:nvPr/>
            </p:nvSpPr>
            <p:spPr bwMode="gray">
              <a:xfrm>
                <a:off x="4511483" y="1979996"/>
                <a:ext cx="361072" cy="361072"/>
              </a:xfrm>
              <a:prstGeom prst="ellipse">
                <a:avLst/>
              </a:prstGeom>
              <a:solidFill>
                <a:schemeClr val="bg1"/>
              </a:solidFill>
              <a:ln w="28575" algn="ctr">
                <a:solidFill>
                  <a:schemeClr val="accent2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 defTabSz="1087470">
                  <a:defRPr/>
                </a:pPr>
                <a:endParaRPr lang="en-US" sz="1795">
                  <a:ln w="6350">
                    <a:solidFill>
                      <a:srgbClr val="000000"/>
                    </a:solidFill>
                  </a:ln>
                  <a:solidFill>
                    <a:srgbClr val="000000"/>
                  </a:solidFill>
                </a:endParaRPr>
              </a:p>
            </p:txBody>
          </p:sp>
          <p:pic>
            <p:nvPicPr>
              <p:cNvPr id="365" name="Picture 16">
                <a:extLst>
                  <a:ext uri="{FF2B5EF4-FFF2-40B4-BE49-F238E27FC236}">
                    <a16:creationId xmlns:a16="http://schemas.microsoft.com/office/drawing/2014/main" id="{740001D6-42CC-4A4E-B704-5218D55910D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/>
              <a:srcRect/>
              <a:stretch/>
            </p:blipFill>
            <p:spPr bwMode="auto">
              <a:xfrm>
                <a:off x="4579523" y="2045892"/>
                <a:ext cx="214216" cy="2142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66" name="Arc 365">
              <a:extLst>
                <a:ext uri="{FF2B5EF4-FFF2-40B4-BE49-F238E27FC236}">
                  <a16:creationId xmlns:a16="http://schemas.microsoft.com/office/drawing/2014/main" id="{EB7CF1B4-927B-45D9-9310-70958BC32F17}"/>
                </a:ext>
              </a:extLst>
            </p:cNvPr>
            <p:cNvSpPr/>
            <p:nvPr/>
          </p:nvSpPr>
          <p:spPr>
            <a:xfrm rot="10800000">
              <a:off x="1912929" y="4331354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ln w="19050">
              <a:solidFill>
                <a:srgbClr val="999999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endParaRPr lang="en-US" sz="209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7" name="Arc 366">
              <a:extLst>
                <a:ext uri="{FF2B5EF4-FFF2-40B4-BE49-F238E27FC236}">
                  <a16:creationId xmlns:a16="http://schemas.microsoft.com/office/drawing/2014/main" id="{E2D022C3-C974-4425-85EC-941A5DE32759}"/>
                </a:ext>
              </a:extLst>
            </p:cNvPr>
            <p:cNvSpPr/>
            <p:nvPr/>
          </p:nvSpPr>
          <p:spPr>
            <a:xfrm>
              <a:off x="1904796" y="4136953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3"/>
                </a:solidFill>
                <a:ea typeface="Arial Unicode MS" pitchFamily="34" charset="-128"/>
              </a:endParaRPr>
            </a:p>
          </p:txBody>
        </p:sp>
        <p:sp>
          <p:nvSpPr>
            <p:cNvPr id="368" name="Arc 367">
              <a:extLst>
                <a:ext uri="{FF2B5EF4-FFF2-40B4-BE49-F238E27FC236}">
                  <a16:creationId xmlns:a16="http://schemas.microsoft.com/office/drawing/2014/main" id="{1EE0F459-7DC4-40A3-8228-619D6B57E594}"/>
                </a:ext>
              </a:extLst>
            </p:cNvPr>
            <p:cNvSpPr/>
            <p:nvPr/>
          </p:nvSpPr>
          <p:spPr>
            <a:xfrm rot="10800000">
              <a:off x="5348114" y="4336681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ln w="19050">
              <a:solidFill>
                <a:srgbClr val="999999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endParaRPr lang="en-US" sz="209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9" name="Arc 368">
              <a:extLst>
                <a:ext uri="{FF2B5EF4-FFF2-40B4-BE49-F238E27FC236}">
                  <a16:creationId xmlns:a16="http://schemas.microsoft.com/office/drawing/2014/main" id="{AD6AF932-C09C-4DDA-97AF-6BF8BDEB17EC}"/>
                </a:ext>
              </a:extLst>
            </p:cNvPr>
            <p:cNvSpPr/>
            <p:nvPr/>
          </p:nvSpPr>
          <p:spPr>
            <a:xfrm>
              <a:off x="5347708" y="4136953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3"/>
                </a:solidFill>
                <a:ea typeface="Arial Unicode MS" pitchFamily="34" charset="-128"/>
              </a:endParaRPr>
            </a:p>
          </p:txBody>
        </p:sp>
        <p:sp>
          <p:nvSpPr>
            <p:cNvPr id="370" name="Arc 369">
              <a:extLst>
                <a:ext uri="{FF2B5EF4-FFF2-40B4-BE49-F238E27FC236}">
                  <a16:creationId xmlns:a16="http://schemas.microsoft.com/office/drawing/2014/main" id="{ADF81DB1-9DDA-4509-9041-9ED8EFB8E560}"/>
                </a:ext>
              </a:extLst>
            </p:cNvPr>
            <p:cNvSpPr/>
            <p:nvPr/>
          </p:nvSpPr>
          <p:spPr>
            <a:xfrm rot="10800000">
              <a:off x="8885417" y="4335633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ln w="19050">
              <a:solidFill>
                <a:srgbClr val="999999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087470">
                <a:defRPr/>
              </a:pPr>
              <a:endParaRPr lang="en-US" sz="209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1" name="Arc 370">
              <a:extLst>
                <a:ext uri="{FF2B5EF4-FFF2-40B4-BE49-F238E27FC236}">
                  <a16:creationId xmlns:a16="http://schemas.microsoft.com/office/drawing/2014/main" id="{885569D8-6BF1-4DC7-A09B-8AEB11D0A499}"/>
                </a:ext>
              </a:extLst>
            </p:cNvPr>
            <p:cNvSpPr/>
            <p:nvPr/>
          </p:nvSpPr>
          <p:spPr>
            <a:xfrm>
              <a:off x="8885011" y="4135905"/>
              <a:ext cx="1523854" cy="1384855"/>
            </a:xfrm>
            <a:prstGeom prst="arc">
              <a:avLst>
                <a:gd name="adj1" fmla="val 11189473"/>
                <a:gd name="adj2" fmla="val 21264607"/>
              </a:avLst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3"/>
                </a:solidFill>
                <a:ea typeface="Arial Unicode MS" pitchFamily="34" charset="-128"/>
              </a:endParaRPr>
            </a:p>
          </p:txBody>
        </p:sp>
        <p:sp>
          <p:nvSpPr>
            <p:cNvPr id="372" name="Rectangle 371">
              <a:extLst>
                <a:ext uri="{FF2B5EF4-FFF2-40B4-BE49-F238E27FC236}">
                  <a16:creationId xmlns:a16="http://schemas.microsoft.com/office/drawing/2014/main" id="{B588A96D-9095-463C-9C53-1F4006B63DAA}"/>
                </a:ext>
              </a:extLst>
            </p:cNvPr>
            <p:cNvSpPr/>
            <p:nvPr/>
          </p:nvSpPr>
          <p:spPr bwMode="gray">
            <a:xfrm>
              <a:off x="1703345" y="4368228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reate and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apture design</a:t>
              </a:r>
            </a:p>
          </p:txBody>
        </p:sp>
        <p:sp>
          <p:nvSpPr>
            <p:cNvPr id="373" name="Rectangle 372">
              <a:extLst>
                <a:ext uri="{FF2B5EF4-FFF2-40B4-BE49-F238E27FC236}">
                  <a16:creationId xmlns:a16="http://schemas.microsoft.com/office/drawing/2014/main" id="{2D7F2467-3356-4735-8F4C-C1971E4A9ACE}"/>
                </a:ext>
              </a:extLst>
            </p:cNvPr>
            <p:cNvSpPr/>
            <p:nvPr/>
          </p:nvSpPr>
          <p:spPr bwMode="gray">
            <a:xfrm>
              <a:off x="2355724" y="3954399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Handover to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manufacturing</a:t>
              </a:r>
            </a:p>
          </p:txBody>
        </p:sp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E8D4402D-C603-49F0-8F64-1B586AAF839E}"/>
                </a:ext>
              </a:extLst>
            </p:cNvPr>
            <p:cNvSpPr/>
            <p:nvPr/>
          </p:nvSpPr>
          <p:spPr bwMode="gray">
            <a:xfrm>
              <a:off x="3028152" y="4386095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un demand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forecasting</a:t>
              </a:r>
            </a:p>
          </p:txBody>
        </p:sp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077E9317-8F96-4FB3-96CA-891A054CFDEE}"/>
                </a:ext>
              </a:extLst>
            </p:cNvPr>
            <p:cNvSpPr/>
            <p:nvPr/>
          </p:nvSpPr>
          <p:spPr bwMode="gray">
            <a:xfrm>
              <a:off x="3009116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un MRP</a:t>
              </a:r>
            </a:p>
          </p:txBody>
        </p:sp>
        <p:sp>
          <p:nvSpPr>
            <p:cNvPr id="376" name="Rectangle 375">
              <a:extLst>
                <a:ext uri="{FF2B5EF4-FFF2-40B4-BE49-F238E27FC236}">
                  <a16:creationId xmlns:a16="http://schemas.microsoft.com/office/drawing/2014/main" id="{FDE6D226-9204-4D4B-8786-1FB7F2CE7A34}"/>
                </a:ext>
              </a:extLst>
            </p:cNvPr>
            <p:cNvSpPr/>
            <p:nvPr/>
          </p:nvSpPr>
          <p:spPr bwMode="gray">
            <a:xfrm>
              <a:off x="2353966" y="563256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Procure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mponents</a:t>
              </a:r>
            </a:p>
          </p:txBody>
        </p:sp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92C3BBA1-5B16-4622-A153-9E52A6414A3D}"/>
                </a:ext>
              </a:extLst>
            </p:cNvPr>
            <p:cNvSpPr/>
            <p:nvPr/>
          </p:nvSpPr>
          <p:spPr bwMode="gray">
            <a:xfrm>
              <a:off x="1703345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eceive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mponents</a:t>
              </a:r>
            </a:p>
          </p:txBody>
        </p:sp>
        <p:sp>
          <p:nvSpPr>
            <p:cNvPr id="378" name="Rectangle 377">
              <a:extLst>
                <a:ext uri="{FF2B5EF4-FFF2-40B4-BE49-F238E27FC236}">
                  <a16:creationId xmlns:a16="http://schemas.microsoft.com/office/drawing/2014/main" id="{1037CDBD-0B2E-453C-813D-1DD954E779B0}"/>
                </a:ext>
              </a:extLst>
            </p:cNvPr>
            <p:cNvSpPr/>
            <p:nvPr/>
          </p:nvSpPr>
          <p:spPr bwMode="gray">
            <a:xfrm>
              <a:off x="5119822" y="4368228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Schedule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production</a:t>
              </a:r>
            </a:p>
          </p:txBody>
        </p:sp>
        <p:sp>
          <p:nvSpPr>
            <p:cNvPr id="379" name="Rectangle 378">
              <a:extLst>
                <a:ext uri="{FF2B5EF4-FFF2-40B4-BE49-F238E27FC236}">
                  <a16:creationId xmlns:a16="http://schemas.microsoft.com/office/drawing/2014/main" id="{8523D1A1-D809-4634-A3BC-56FDA69DE1EB}"/>
                </a:ext>
              </a:extLst>
            </p:cNvPr>
            <p:cNvSpPr/>
            <p:nvPr/>
          </p:nvSpPr>
          <p:spPr bwMode="gray">
            <a:xfrm>
              <a:off x="5772201" y="3954399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un production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of subassemblies</a:t>
              </a:r>
            </a:p>
          </p:txBody>
        </p:sp>
        <p:sp>
          <p:nvSpPr>
            <p:cNvPr id="380" name="Rectangle 379">
              <a:extLst>
                <a:ext uri="{FF2B5EF4-FFF2-40B4-BE49-F238E27FC236}">
                  <a16:creationId xmlns:a16="http://schemas.microsoft.com/office/drawing/2014/main" id="{CAE132EC-DE41-46C0-A153-2F444C8EEA4B}"/>
                </a:ext>
              </a:extLst>
            </p:cNvPr>
            <p:cNvSpPr/>
            <p:nvPr/>
          </p:nvSpPr>
          <p:spPr bwMode="gray">
            <a:xfrm>
              <a:off x="6425595" y="4386095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nfirm and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eceive subassemblies</a:t>
              </a:r>
            </a:p>
          </p:txBody>
        </p:sp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F7D6D470-EFA2-4D12-BF28-9B078C79B99A}"/>
                </a:ext>
              </a:extLst>
            </p:cNvPr>
            <p:cNvSpPr/>
            <p:nvPr/>
          </p:nvSpPr>
          <p:spPr bwMode="gray">
            <a:xfrm>
              <a:off x="6425595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Pick components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and run final assembly</a:t>
              </a:r>
            </a:p>
          </p:txBody>
        </p:sp>
        <p:sp>
          <p:nvSpPr>
            <p:cNvPr id="382" name="Rectangle 381">
              <a:extLst>
                <a:ext uri="{FF2B5EF4-FFF2-40B4-BE49-F238E27FC236}">
                  <a16:creationId xmlns:a16="http://schemas.microsoft.com/office/drawing/2014/main" id="{B84FF2B9-AA02-4C4C-847D-3E31488BD81A}"/>
                </a:ext>
              </a:extLst>
            </p:cNvPr>
            <p:cNvSpPr/>
            <p:nvPr/>
          </p:nvSpPr>
          <p:spPr bwMode="gray">
            <a:xfrm>
              <a:off x="5770444" y="563256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nfirm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final assembly </a:t>
              </a:r>
            </a:p>
          </p:txBody>
        </p:sp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882A6E32-6E80-433A-9948-6EB14769013F}"/>
                </a:ext>
              </a:extLst>
            </p:cNvPr>
            <p:cNvSpPr/>
            <p:nvPr/>
          </p:nvSpPr>
          <p:spPr bwMode="gray">
            <a:xfrm>
              <a:off x="5119822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eceive finished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products into warehouse</a:t>
              </a:r>
            </a:p>
          </p:txBody>
        </p:sp>
        <p:sp>
          <p:nvSpPr>
            <p:cNvPr id="384" name="Rectangle 383">
              <a:extLst>
                <a:ext uri="{FF2B5EF4-FFF2-40B4-BE49-F238E27FC236}">
                  <a16:creationId xmlns:a16="http://schemas.microsoft.com/office/drawing/2014/main" id="{898EBDD3-8F56-41C9-926F-F126BFDC0FCB}"/>
                </a:ext>
              </a:extLst>
            </p:cNvPr>
            <p:cNvSpPr/>
            <p:nvPr/>
          </p:nvSpPr>
          <p:spPr bwMode="gray">
            <a:xfrm>
              <a:off x="8689559" y="4368228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reate quotation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and receive order</a:t>
              </a:r>
            </a:p>
          </p:txBody>
        </p:sp>
        <p:sp>
          <p:nvSpPr>
            <p:cNvPr id="385" name="Rectangle 384">
              <a:extLst>
                <a:ext uri="{FF2B5EF4-FFF2-40B4-BE49-F238E27FC236}">
                  <a16:creationId xmlns:a16="http://schemas.microsoft.com/office/drawing/2014/main" id="{D7610B4E-CA96-4DF9-ACB8-0D6495A465F2}"/>
                </a:ext>
              </a:extLst>
            </p:cNvPr>
            <p:cNvSpPr/>
            <p:nvPr/>
          </p:nvSpPr>
          <p:spPr bwMode="gray">
            <a:xfrm>
              <a:off x="9341937" y="3954399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reate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sales order</a:t>
              </a:r>
            </a:p>
          </p:txBody>
        </p:sp>
        <p:sp>
          <p:nvSpPr>
            <p:cNvPr id="386" name="Rectangle 385">
              <a:extLst>
                <a:ext uri="{FF2B5EF4-FFF2-40B4-BE49-F238E27FC236}">
                  <a16:creationId xmlns:a16="http://schemas.microsoft.com/office/drawing/2014/main" id="{9738A6C9-8575-4AC1-957D-C288178FE77C}"/>
                </a:ext>
              </a:extLst>
            </p:cNvPr>
            <p:cNvSpPr/>
            <p:nvPr/>
          </p:nvSpPr>
          <p:spPr bwMode="gray">
            <a:xfrm>
              <a:off x="9995331" y="4386095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Plan transport and run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outbound delivery</a:t>
              </a:r>
            </a:p>
          </p:txBody>
        </p:sp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82F55EB2-4AB1-4EAE-A1D0-708717E770BA}"/>
                </a:ext>
              </a:extLst>
            </p:cNvPr>
            <p:cNvSpPr/>
            <p:nvPr/>
          </p:nvSpPr>
          <p:spPr bwMode="gray">
            <a:xfrm>
              <a:off x="9995331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un and track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outbound transport </a:t>
              </a:r>
            </a:p>
          </p:txBody>
        </p:sp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4F3E2A2E-1367-4818-B594-DCEBEB02E390}"/>
                </a:ext>
              </a:extLst>
            </p:cNvPr>
            <p:cNvSpPr/>
            <p:nvPr/>
          </p:nvSpPr>
          <p:spPr bwMode="gray">
            <a:xfrm>
              <a:off x="9236824" y="5632567"/>
              <a:ext cx="849921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Monitor warranty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and react to claims</a:t>
              </a:r>
            </a:p>
          </p:txBody>
        </p:sp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9291EA75-5324-41D6-9D51-9162FDD74D20}"/>
                </a:ext>
              </a:extLst>
            </p:cNvPr>
            <p:cNvSpPr/>
            <p:nvPr/>
          </p:nvSpPr>
          <p:spPr bwMode="gray">
            <a:xfrm>
              <a:off x="8689559" y="5232297"/>
              <a:ext cx="625514" cy="237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89908" tIns="71924" rIns="89908" bIns="71924" rtlCol="0" anchor="ctr"/>
            <a:lstStyle/>
            <a:p>
              <a:pPr algn="ctr" defTabSz="913304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reate service order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and run service</a:t>
              </a:r>
            </a:p>
          </p:txBody>
        </p:sp>
        <p:sp>
          <p:nvSpPr>
            <p:cNvPr id="390" name="TextBox 148">
              <a:extLst>
                <a:ext uri="{FF2B5EF4-FFF2-40B4-BE49-F238E27FC236}">
                  <a16:creationId xmlns:a16="http://schemas.microsoft.com/office/drawing/2014/main" id="{D4B06EFD-04BB-4615-B96B-3E1A70179992}"/>
                </a:ext>
              </a:extLst>
            </p:cNvPr>
            <p:cNvSpPr txBox="1"/>
            <p:nvPr/>
          </p:nvSpPr>
          <p:spPr>
            <a:xfrm>
              <a:off x="2374139" y="5076912"/>
              <a:ext cx="61788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algn="ctr" defTabSz="108812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/>
                <a:t>Plan</a:t>
              </a:r>
            </a:p>
          </p:txBody>
        </p:sp>
        <p:sp>
          <p:nvSpPr>
            <p:cNvPr id="391" name="TextBox 149">
              <a:extLst>
                <a:ext uri="{FF2B5EF4-FFF2-40B4-BE49-F238E27FC236}">
                  <a16:creationId xmlns:a16="http://schemas.microsoft.com/office/drawing/2014/main" id="{80968960-2219-4779-9687-AB63446E6F07}"/>
                </a:ext>
              </a:extLst>
            </p:cNvPr>
            <p:cNvSpPr txBox="1"/>
            <p:nvPr/>
          </p:nvSpPr>
          <p:spPr>
            <a:xfrm>
              <a:off x="5792674" y="5076912"/>
              <a:ext cx="61788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algn="ctr" defTabSz="108812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defRPr>
              </a:lvl1pPr>
              <a:lvl2pPr marL="457200" defTabSz="914400">
                <a:defRPr sz="1800">
                  <a:latin typeface="+mn-lt"/>
                </a:defRPr>
              </a:lvl2pPr>
              <a:lvl3pPr marL="914400" defTabSz="914400">
                <a:defRPr sz="1800">
                  <a:latin typeface="+mn-lt"/>
                </a:defRPr>
              </a:lvl3pPr>
              <a:lvl4pPr marL="1371600" defTabSz="914400">
                <a:defRPr sz="1800">
                  <a:latin typeface="+mn-lt"/>
                </a:defRPr>
              </a:lvl4pPr>
              <a:lvl5pPr marL="1828800" defTabSz="914400">
                <a:defRPr sz="1800">
                  <a:latin typeface="+mn-lt"/>
                </a:defRPr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/>
                <a:t>Produce</a:t>
              </a:r>
            </a:p>
          </p:txBody>
        </p:sp>
        <p:sp>
          <p:nvSpPr>
            <p:cNvPr id="392" name="TextBox 150">
              <a:extLst>
                <a:ext uri="{FF2B5EF4-FFF2-40B4-BE49-F238E27FC236}">
                  <a16:creationId xmlns:a16="http://schemas.microsoft.com/office/drawing/2014/main" id="{12E6DDDE-29CA-4406-8BA6-1BE758B23915}"/>
                </a:ext>
              </a:extLst>
            </p:cNvPr>
            <p:cNvSpPr txBox="1"/>
            <p:nvPr/>
          </p:nvSpPr>
          <p:spPr>
            <a:xfrm>
              <a:off x="9359903" y="5076229"/>
              <a:ext cx="61788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algn="ctr" defTabSz="108812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defRPr>
              </a:lvl1pPr>
              <a:lvl2pPr marL="457200" defTabSz="914400">
                <a:defRPr sz="1800">
                  <a:latin typeface="+mn-lt"/>
                </a:defRPr>
              </a:lvl2pPr>
              <a:lvl3pPr marL="914400" defTabSz="914400">
                <a:defRPr sz="1800">
                  <a:latin typeface="+mn-lt"/>
                </a:defRPr>
              </a:lvl3pPr>
              <a:lvl4pPr marL="1371600" defTabSz="914400">
                <a:defRPr sz="1800">
                  <a:latin typeface="+mn-lt"/>
                </a:defRPr>
              </a:lvl4pPr>
              <a:lvl5pPr marL="1828800" defTabSz="914400">
                <a:defRPr sz="1800">
                  <a:latin typeface="+mn-lt"/>
                </a:defRPr>
              </a:lvl5pPr>
              <a:lvl6pPr marL="2286000" defTabSz="914400">
                <a:defRPr sz="1800"/>
              </a:lvl6pPr>
              <a:lvl7pPr marL="2743200" defTabSz="914400">
                <a:defRPr sz="1800"/>
              </a:lvl7pPr>
              <a:lvl8pPr marL="3200400" defTabSz="914400">
                <a:defRPr sz="1800"/>
              </a:lvl8pPr>
              <a:lvl9pPr marL="3657600" defTabSz="914400">
                <a:defRPr sz="1800"/>
              </a:lvl9pPr>
            </a:lstStyle>
            <a:p>
              <a:r>
                <a:rPr lang="en-US"/>
                <a:t>Deliver</a:t>
              </a:r>
            </a:p>
          </p:txBody>
        </p:sp>
        <p:sp>
          <p:nvSpPr>
            <p:cNvPr id="393" name="Oval 392">
              <a:extLst>
                <a:ext uri="{FF2B5EF4-FFF2-40B4-BE49-F238E27FC236}">
                  <a16:creationId xmlns:a16="http://schemas.microsoft.com/office/drawing/2014/main" id="{D19E5953-7A5F-4D38-96E1-8A1F981F9851}"/>
                </a:ext>
              </a:extLst>
            </p:cNvPr>
            <p:cNvSpPr/>
            <p:nvPr/>
          </p:nvSpPr>
          <p:spPr bwMode="gray">
            <a:xfrm>
              <a:off x="2569982" y="4812461"/>
              <a:ext cx="208228" cy="208228"/>
            </a:xfrm>
            <a:prstGeom prst="ellipse">
              <a:avLst/>
            </a:prstGeom>
            <a:solidFill>
              <a:schemeClr val="bg1"/>
            </a:solidFill>
            <a:ln w="28575" algn="ctr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 defTabSz="1087470">
                <a:defRPr/>
              </a:pPr>
              <a:endParaRPr lang="en-US" sz="1795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  <p:pic>
          <p:nvPicPr>
            <p:cNvPr id="394" name="Picture 16">
              <a:extLst>
                <a:ext uri="{FF2B5EF4-FFF2-40B4-BE49-F238E27FC236}">
                  <a16:creationId xmlns:a16="http://schemas.microsoft.com/office/drawing/2014/main" id="{2BB1B667-7406-4AB0-A5E5-B6845D3E20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03191" y="4841817"/>
              <a:ext cx="149806" cy="149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95" name="Straight Arrow Connector 394">
              <a:extLst>
                <a:ext uri="{FF2B5EF4-FFF2-40B4-BE49-F238E27FC236}">
                  <a16:creationId xmlns:a16="http://schemas.microsoft.com/office/drawing/2014/main" id="{95D8761F-6AEF-424B-AF0F-9D6F7A7EEAD6}"/>
                </a:ext>
              </a:extLst>
            </p:cNvPr>
            <p:cNvCxnSpPr>
              <a:cxnSpLocks/>
              <a:stCxn id="401" idx="3"/>
              <a:endCxn id="361" idx="2"/>
            </p:cNvCxnSpPr>
            <p:nvPr/>
          </p:nvCxnSpPr>
          <p:spPr>
            <a:xfrm>
              <a:off x="9014233" y="4916575"/>
              <a:ext cx="528795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pic>
          <p:nvPicPr>
            <p:cNvPr id="396" name="Picture 395">
              <a:extLst>
                <a:ext uri="{FF2B5EF4-FFF2-40B4-BE49-F238E27FC236}">
                  <a16:creationId xmlns:a16="http://schemas.microsoft.com/office/drawing/2014/main" id="{DA36EFDD-0EDC-46B2-BE0D-622D60C14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174201" y="4714880"/>
              <a:ext cx="403391" cy="403391"/>
            </a:xfrm>
            <a:prstGeom prst="rect">
              <a:avLst/>
            </a:prstGeom>
            <a:noFill/>
          </p:spPr>
        </p:pic>
        <p:pic>
          <p:nvPicPr>
            <p:cNvPr id="397" name="Picture 396">
              <a:extLst>
                <a:ext uri="{FF2B5EF4-FFF2-40B4-BE49-F238E27FC236}">
                  <a16:creationId xmlns:a16="http://schemas.microsoft.com/office/drawing/2014/main" id="{93988D4E-F330-4CB5-8393-845CDF4E0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0207" y="4767897"/>
              <a:ext cx="297358" cy="2973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98" name="Picture 397">
              <a:extLst>
                <a:ext uri="{FF2B5EF4-FFF2-40B4-BE49-F238E27FC236}">
                  <a16:creationId xmlns:a16="http://schemas.microsoft.com/office/drawing/2014/main" id="{5A5F9F24-CF99-43DA-BEA6-D1F44EECB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713605" y="4767897"/>
              <a:ext cx="297358" cy="29735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361D1F6A-B077-4C36-8911-4609EE33FC58}"/>
                </a:ext>
              </a:extLst>
            </p:cNvPr>
            <p:cNvSpPr/>
            <p:nvPr/>
          </p:nvSpPr>
          <p:spPr bwMode="gray">
            <a:xfrm>
              <a:off x="5185409" y="4740750"/>
              <a:ext cx="442999" cy="458952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 err="1"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400" name="Picture 399">
              <a:extLst>
                <a:ext uri="{FF2B5EF4-FFF2-40B4-BE49-F238E27FC236}">
                  <a16:creationId xmlns:a16="http://schemas.microsoft.com/office/drawing/2014/main" id="{1499C63A-0218-4B5B-BC2C-89004F330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185409" y="4753029"/>
              <a:ext cx="330612" cy="3270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01" name="Picture 400">
              <a:extLst>
                <a:ext uri="{FF2B5EF4-FFF2-40B4-BE49-F238E27FC236}">
                  <a16:creationId xmlns:a16="http://schemas.microsoft.com/office/drawing/2014/main" id="{D7D8A99A-1A95-4467-880B-3631F6814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59830" y="4789374"/>
              <a:ext cx="254403" cy="254403"/>
            </a:xfrm>
            <a:prstGeom prst="rect">
              <a:avLst/>
            </a:prstGeom>
          </p:spPr>
        </p:pic>
        <p:pic>
          <p:nvPicPr>
            <p:cNvPr id="402" name="Picture 401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BF092E78-8B2E-4F92-BA0E-E114AAA9B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85527" y="4787222"/>
              <a:ext cx="258708" cy="258708"/>
            </a:xfrm>
            <a:prstGeom prst="rect">
              <a:avLst/>
            </a:prstGeom>
          </p:spPr>
        </p:pic>
        <p:cxnSp>
          <p:nvCxnSpPr>
            <p:cNvPr id="403" name="Straight Arrow Connector 402">
              <a:extLst>
                <a:ext uri="{FF2B5EF4-FFF2-40B4-BE49-F238E27FC236}">
                  <a16:creationId xmlns:a16="http://schemas.microsoft.com/office/drawing/2014/main" id="{85CA8192-EED7-446A-ACD0-6C32FF1224E3}"/>
                </a:ext>
              </a:extLst>
            </p:cNvPr>
            <p:cNvCxnSpPr>
              <a:cxnSpLocks/>
              <a:stCxn id="396" idx="3"/>
              <a:endCxn id="400" idx="1"/>
            </p:cNvCxnSpPr>
            <p:nvPr/>
          </p:nvCxnSpPr>
          <p:spPr>
            <a:xfrm>
              <a:off x="3577592" y="4916576"/>
              <a:ext cx="1607817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404" name="Straight Arrow Connector 403">
              <a:extLst>
                <a:ext uri="{FF2B5EF4-FFF2-40B4-BE49-F238E27FC236}">
                  <a16:creationId xmlns:a16="http://schemas.microsoft.com/office/drawing/2014/main" id="{31D7AF0A-2308-47BA-8C17-9DE079379F81}"/>
                </a:ext>
              </a:extLst>
            </p:cNvPr>
            <p:cNvCxnSpPr>
              <a:cxnSpLocks/>
              <a:stCxn id="398" idx="3"/>
              <a:endCxn id="401" idx="1"/>
            </p:cNvCxnSpPr>
            <p:nvPr/>
          </p:nvCxnSpPr>
          <p:spPr>
            <a:xfrm>
              <a:off x="7010963" y="4916576"/>
              <a:ext cx="1748867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405" name="Straight Arrow Connector 404">
              <a:extLst>
                <a:ext uri="{FF2B5EF4-FFF2-40B4-BE49-F238E27FC236}">
                  <a16:creationId xmlns:a16="http://schemas.microsoft.com/office/drawing/2014/main" id="{B455C21A-B983-4100-8CEB-178EA39FB496}"/>
                </a:ext>
              </a:extLst>
            </p:cNvPr>
            <p:cNvCxnSpPr>
              <a:cxnSpLocks/>
              <a:stCxn id="361" idx="6"/>
              <a:endCxn id="402" idx="1"/>
            </p:cNvCxnSpPr>
            <p:nvPr/>
          </p:nvCxnSpPr>
          <p:spPr>
            <a:xfrm>
              <a:off x="9751256" y="4916575"/>
              <a:ext cx="53427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6875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44D29B28-4732-70E2-2068-9F9FEDBFC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116"/>
            <a:ext cx="11177742" cy="645867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exibility/extensibility</a:t>
            </a:r>
            <a:br>
              <a:rPr lang="en-US" dirty="0"/>
            </a:br>
            <a:endParaRPr lang="de-DE" dirty="0">
              <a:solidFill>
                <a:schemeClr val="accent3"/>
              </a:solidFill>
            </a:endParaRPr>
          </a:p>
        </p:txBody>
      </p:sp>
      <p:pic>
        <p:nvPicPr>
          <p:cNvPr id="2" name="Grafik 56">
            <a:extLst>
              <a:ext uri="{FF2B5EF4-FFF2-40B4-BE49-F238E27FC236}">
                <a16:creationId xmlns:a16="http://schemas.microsoft.com/office/drawing/2014/main" id="{29E8CC14-F7C1-DCC4-F3C6-F43F17FB69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567" y="1632427"/>
            <a:ext cx="10788522" cy="492214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77C7143-451F-EBB2-9D36-3FC165A174A8}"/>
              </a:ext>
            </a:extLst>
          </p:cNvPr>
          <p:cNvCxnSpPr>
            <a:cxnSpLocks/>
            <a:stCxn id="12" idx="3"/>
            <a:endCxn id="30" idx="1"/>
          </p:cNvCxnSpPr>
          <p:nvPr/>
        </p:nvCxnSpPr>
        <p:spPr>
          <a:xfrm>
            <a:off x="1439878" y="4905722"/>
            <a:ext cx="7029181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31CAE5A-E8E6-AF56-88B4-6113F96C8133}"/>
              </a:ext>
            </a:extLst>
          </p:cNvPr>
          <p:cNvCxnSpPr>
            <a:cxnSpLocks/>
            <a:stCxn id="9" idx="3"/>
            <a:endCxn id="13" idx="1"/>
          </p:cNvCxnSpPr>
          <p:nvPr/>
        </p:nvCxnSpPr>
        <p:spPr>
          <a:xfrm>
            <a:off x="1439882" y="1913487"/>
            <a:ext cx="7032838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9">
            <a:extLst>
              <a:ext uri="{FF2B5EF4-FFF2-40B4-BE49-F238E27FC236}">
                <a16:creationId xmlns:a16="http://schemas.microsoft.com/office/drawing/2014/main" id="{DA59D29D-01AC-BB30-CE04-9C0844709FBC}"/>
              </a:ext>
            </a:extLst>
          </p:cNvPr>
          <p:cNvSpPr/>
          <p:nvPr/>
        </p:nvSpPr>
        <p:spPr bwMode="gray">
          <a:xfrm>
            <a:off x="2250395" y="839771"/>
            <a:ext cx="3349307" cy="461305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0" tIns="0" rIns="71906" bIns="0" rtlCol="0" anchor="ctr">
            <a:spAutoFit/>
          </a:bodyPr>
          <a:lstStyle/>
          <a:p>
            <a:pPr defTabSz="913121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599" b="1" kern="0">
                <a:solidFill>
                  <a:schemeClr val="accent3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Key User Extensibility</a:t>
            </a:r>
            <a:br>
              <a:rPr lang="en-US" sz="1798" b="1" kern="0">
                <a:solidFill>
                  <a:schemeClr val="accent3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399" i="1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(Key User – In App)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68A6B2C9-A96A-A71D-515B-1EBEE4E1D900}"/>
              </a:ext>
            </a:extLst>
          </p:cNvPr>
          <p:cNvSpPr/>
          <p:nvPr/>
        </p:nvSpPr>
        <p:spPr bwMode="gray">
          <a:xfrm>
            <a:off x="9004807" y="839771"/>
            <a:ext cx="2694409" cy="461305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0" tIns="0" rIns="71906" bIns="0" rtlCol="0" anchor="ctr">
            <a:spAutoFit/>
          </a:bodyPr>
          <a:lstStyle/>
          <a:p>
            <a:pPr defTabSz="913121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599" b="1" ker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ide-by-Side Extensibility</a:t>
            </a:r>
            <a:br>
              <a:rPr lang="en-US" sz="1798" b="1" kern="0">
                <a:solidFill>
                  <a:schemeClr val="accent4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399" i="1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(Developer)</a:t>
            </a:r>
            <a:endParaRPr lang="en-US" sz="1399" b="1" kern="0">
              <a:solidFill>
                <a:schemeClr val="accent4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A16DF21F-1B7B-E834-3327-D47B1761F647}"/>
              </a:ext>
            </a:extLst>
          </p:cNvPr>
          <p:cNvSpPr/>
          <p:nvPr/>
        </p:nvSpPr>
        <p:spPr bwMode="gray">
          <a:xfrm>
            <a:off x="5681631" y="839771"/>
            <a:ext cx="2733685" cy="461305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wrap="square" lIns="0" tIns="0" rIns="71906" bIns="0" rtlCol="0" anchor="ctr">
            <a:spAutoFit/>
          </a:bodyPr>
          <a:lstStyle/>
          <a:p>
            <a:pPr defTabSz="913121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599" b="1" kern="0">
                <a:solidFill>
                  <a:schemeClr val="accent3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veloper Extensibility</a:t>
            </a:r>
            <a:br>
              <a:rPr lang="en-US" sz="1798" b="1" ker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399" i="1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(ABAP Developer, EA only)</a:t>
            </a: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E59F8466-9082-7C5D-BA2B-ABA483709014}"/>
              </a:ext>
            </a:extLst>
          </p:cNvPr>
          <p:cNvSpPr/>
          <p:nvPr/>
        </p:nvSpPr>
        <p:spPr bwMode="gray">
          <a:xfrm>
            <a:off x="540582" y="1499811"/>
            <a:ext cx="899298" cy="82735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cenario</a:t>
            </a:r>
            <a:endParaRPr lang="en-DE" sz="1299" b="1" kern="0" err="1">
              <a:solidFill>
                <a:schemeClr val="bg1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0" name="Rectangle: Rounded Corners 29">
            <a:extLst>
              <a:ext uri="{FF2B5EF4-FFF2-40B4-BE49-F238E27FC236}">
                <a16:creationId xmlns:a16="http://schemas.microsoft.com/office/drawing/2014/main" id="{E0D842B6-7C3E-244C-FA31-BC8FBF026C6B}"/>
              </a:ext>
            </a:extLst>
          </p:cNvPr>
          <p:cNvSpPr/>
          <p:nvPr/>
        </p:nvSpPr>
        <p:spPr bwMode="gray">
          <a:xfrm>
            <a:off x="540581" y="3867276"/>
            <a:ext cx="899298" cy="393825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ersona</a:t>
            </a:r>
            <a:endParaRPr lang="en-DE" sz="1299" b="1" kern="0" err="1">
              <a:solidFill>
                <a:schemeClr val="bg1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: Rounded Corners 30">
            <a:extLst>
              <a:ext uri="{FF2B5EF4-FFF2-40B4-BE49-F238E27FC236}">
                <a16:creationId xmlns:a16="http://schemas.microsoft.com/office/drawing/2014/main" id="{057101B6-8140-134A-7F36-8318708F247B}"/>
              </a:ext>
            </a:extLst>
          </p:cNvPr>
          <p:cNvSpPr/>
          <p:nvPr/>
        </p:nvSpPr>
        <p:spPr bwMode="gray">
          <a:xfrm>
            <a:off x="540582" y="2427693"/>
            <a:ext cx="899298" cy="1330960"/>
          </a:xfrm>
          <a:prstGeom prst="roundRect">
            <a:avLst/>
          </a:prstGeom>
          <a:solidFill>
            <a:schemeClr val="accent3"/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Use</a:t>
            </a:r>
            <a:b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ases</a:t>
            </a:r>
            <a:endParaRPr lang="en-DE" sz="1299" b="1" kern="0">
              <a:solidFill>
                <a:schemeClr val="bg1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2" name="Rectangle: Rounded Corners 31">
            <a:extLst>
              <a:ext uri="{FF2B5EF4-FFF2-40B4-BE49-F238E27FC236}">
                <a16:creationId xmlns:a16="http://schemas.microsoft.com/office/drawing/2014/main" id="{0F06864B-5C89-47F6-48B4-7B68692D27F3}"/>
              </a:ext>
            </a:extLst>
          </p:cNvPr>
          <p:cNvSpPr/>
          <p:nvPr/>
        </p:nvSpPr>
        <p:spPr bwMode="gray">
          <a:xfrm>
            <a:off x="540582" y="4366143"/>
            <a:ext cx="899297" cy="1079157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99" b="1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enefit</a:t>
            </a:r>
            <a:endParaRPr lang="en-DE" sz="1299" b="1" kern="0" err="1">
              <a:solidFill>
                <a:schemeClr val="bg1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3" name="Rectangle: Rounded Corners 35">
            <a:extLst>
              <a:ext uri="{FF2B5EF4-FFF2-40B4-BE49-F238E27FC236}">
                <a16:creationId xmlns:a16="http://schemas.microsoft.com/office/drawing/2014/main" id="{8C28400F-0865-E249-35BF-2275F0B9A0F5}"/>
              </a:ext>
            </a:extLst>
          </p:cNvPr>
          <p:cNvSpPr/>
          <p:nvPr/>
        </p:nvSpPr>
        <p:spPr bwMode="gray">
          <a:xfrm>
            <a:off x="8472719" y="1499811"/>
            <a:ext cx="3165526" cy="827353"/>
          </a:xfrm>
          <a:prstGeom prst="roundRect">
            <a:avLst>
              <a:gd name="adj" fmla="val 15092"/>
            </a:avLst>
          </a:prstGeom>
          <a:noFill/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89930" tIns="35972" rIns="89930" bIns="35972" rtlCol="0" anchor="ctr"/>
          <a:lstStyle/>
          <a:p>
            <a:pPr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Loosely-coupled extensions and </a:t>
            </a:r>
            <a:b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pplications, such as partner solutions </a:t>
            </a:r>
            <a:b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r custom applications targeting a </a:t>
            </a:r>
            <a:b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ifferent end user group</a:t>
            </a:r>
            <a:endParaRPr lang="en-DE" sz="1099" kern="0"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4" name="Rectangle: Rounded Corners 32">
            <a:extLst>
              <a:ext uri="{FF2B5EF4-FFF2-40B4-BE49-F238E27FC236}">
                <a16:creationId xmlns:a16="http://schemas.microsoft.com/office/drawing/2014/main" id="{E397CC23-ED87-AAEE-A375-7E83E6FE3569}"/>
              </a:ext>
            </a:extLst>
          </p:cNvPr>
          <p:cNvSpPr/>
          <p:nvPr/>
        </p:nvSpPr>
        <p:spPr bwMode="gray">
          <a:xfrm>
            <a:off x="5073264" y="1499811"/>
            <a:ext cx="3165526" cy="827353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ightly-coupled and more complex </a:t>
            </a:r>
            <a:b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extensions and apps</a:t>
            </a:r>
          </a:p>
        </p:txBody>
      </p:sp>
      <p:sp>
        <p:nvSpPr>
          <p:cNvPr id="15" name="Rectangle: Rounded Corners 10">
            <a:extLst>
              <a:ext uri="{FF2B5EF4-FFF2-40B4-BE49-F238E27FC236}">
                <a16:creationId xmlns:a16="http://schemas.microsoft.com/office/drawing/2014/main" id="{68887E6B-8AFE-9030-A120-903513ACE905}"/>
              </a:ext>
            </a:extLst>
          </p:cNvPr>
          <p:cNvSpPr/>
          <p:nvPr/>
        </p:nvSpPr>
        <p:spPr bwMode="gray">
          <a:xfrm>
            <a:off x="1673809" y="1499811"/>
            <a:ext cx="3165526" cy="827353"/>
          </a:xfrm>
          <a:prstGeom prst="roundRect">
            <a:avLst>
              <a:gd name="adj" fmla="val 11963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ker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maller low-/no-code extensions of SAP solution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760548-4098-F797-7828-D801117F0BE0}"/>
              </a:ext>
            </a:extLst>
          </p:cNvPr>
          <p:cNvCxnSpPr>
            <a:cxnSpLocks/>
            <a:stCxn id="11" idx="3"/>
            <a:endCxn id="17" idx="1"/>
          </p:cNvCxnSpPr>
          <p:nvPr/>
        </p:nvCxnSpPr>
        <p:spPr>
          <a:xfrm>
            <a:off x="1439882" y="3093173"/>
            <a:ext cx="7032838" cy="4047"/>
          </a:xfrm>
          <a:prstGeom prst="line">
            <a:avLst/>
          </a:prstGeom>
          <a:ln w="12700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39">
            <a:extLst>
              <a:ext uri="{FF2B5EF4-FFF2-40B4-BE49-F238E27FC236}">
                <a16:creationId xmlns:a16="http://schemas.microsoft.com/office/drawing/2014/main" id="{669D65DF-FF01-797F-18A2-63A0ED7CBBB3}"/>
              </a:ext>
            </a:extLst>
          </p:cNvPr>
          <p:cNvSpPr/>
          <p:nvPr/>
        </p:nvSpPr>
        <p:spPr bwMode="gray">
          <a:xfrm>
            <a:off x="8472719" y="2431740"/>
            <a:ext cx="3165526" cy="1330960"/>
          </a:xfrm>
          <a:prstGeom prst="roundRect">
            <a:avLst>
              <a:gd name="adj" fmla="val 10103"/>
            </a:avLst>
          </a:prstGeom>
          <a:solidFill>
            <a:srgbClr val="FFFFFF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89930" tIns="35972" rIns="89930" bIns="35972" rtlCol="0" anchor="ctr"/>
          <a:lstStyle/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 or multitenant applications 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BAP and non-ABAP (Java, Node.js,) development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aaS solutions developed by partners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pps for separate target groups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er Implemented Localization</a:t>
            </a:r>
          </a:p>
        </p:txBody>
      </p:sp>
      <p:sp>
        <p:nvSpPr>
          <p:cNvPr id="18" name="Rectangle: Rounded Corners 37">
            <a:extLst>
              <a:ext uri="{FF2B5EF4-FFF2-40B4-BE49-F238E27FC236}">
                <a16:creationId xmlns:a16="http://schemas.microsoft.com/office/drawing/2014/main" id="{5B769BE5-6B01-D1F9-787E-3A7F336EB1C3}"/>
              </a:ext>
            </a:extLst>
          </p:cNvPr>
          <p:cNvSpPr/>
          <p:nvPr/>
        </p:nvSpPr>
        <p:spPr bwMode="gray">
          <a:xfrm>
            <a:off x="5073264" y="2430808"/>
            <a:ext cx="3165526" cy="1330960"/>
          </a:xfrm>
          <a:prstGeom prst="roundRect">
            <a:avLst>
              <a:gd name="adj" fmla="val 10608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35972" rIns="89930" bIns="35972" rtlCol="0" anchor="ctr"/>
          <a:lstStyle/>
          <a:p>
            <a:pPr>
              <a:spcBef>
                <a:spcPts val="400"/>
              </a:spcBef>
              <a:buClr>
                <a:srgbClr val="F0AB00"/>
              </a:buClr>
              <a:buSzPct val="80000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BAP based: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 app development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xtensions of SAP S/4HANA Cloud solutions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artner extensions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er Implemented Localization</a:t>
            </a:r>
          </a:p>
        </p:txBody>
      </p:sp>
      <p:sp>
        <p:nvSpPr>
          <p:cNvPr id="19" name="Rectangle: Rounded Corners 36">
            <a:extLst>
              <a:ext uri="{FF2B5EF4-FFF2-40B4-BE49-F238E27FC236}">
                <a16:creationId xmlns:a16="http://schemas.microsoft.com/office/drawing/2014/main" id="{666D8212-8239-B102-A6FB-051A1FFAEDD0}"/>
              </a:ext>
            </a:extLst>
          </p:cNvPr>
          <p:cNvSpPr/>
          <p:nvPr/>
        </p:nvSpPr>
        <p:spPr bwMode="gray">
          <a:xfrm>
            <a:off x="1673809" y="2430808"/>
            <a:ext cx="3165526" cy="1330960"/>
          </a:xfrm>
          <a:prstGeom prst="roundRect">
            <a:avLst>
              <a:gd name="adj" fmla="val 9093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35972" rIns="89930" bIns="35972" rtlCol="0" anchor="ctr"/>
          <a:lstStyle/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I field layout, custom forms and templates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 analytics via CDS views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 SAP</a:t>
            </a:r>
            <a:r>
              <a:rPr lang="en-US" sz="1099" baseline="3000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® </a:t>
            </a: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usinessObjects™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 business logic using cloud BADIs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Customer Implemented Localiz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4095C42-0868-588B-FEF3-0B00288793B8}"/>
              </a:ext>
            </a:extLst>
          </p:cNvPr>
          <p:cNvCxnSpPr>
            <a:cxnSpLocks/>
            <a:stCxn id="10" idx="3"/>
            <a:endCxn id="23" idx="1"/>
          </p:cNvCxnSpPr>
          <p:nvPr/>
        </p:nvCxnSpPr>
        <p:spPr>
          <a:xfrm>
            <a:off x="1439879" y="4064188"/>
            <a:ext cx="7032839" cy="934"/>
          </a:xfrm>
          <a:prstGeom prst="line">
            <a:avLst/>
          </a:prstGeom>
          <a:ln w="12700"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44">
            <a:extLst>
              <a:ext uri="{FF2B5EF4-FFF2-40B4-BE49-F238E27FC236}">
                <a16:creationId xmlns:a16="http://schemas.microsoft.com/office/drawing/2014/main" id="{BADF87D5-64AA-7DFA-524C-552D5CC283F0}"/>
              </a:ext>
            </a:extLst>
          </p:cNvPr>
          <p:cNvSpPr/>
          <p:nvPr/>
        </p:nvSpPr>
        <p:spPr bwMode="gray">
          <a:xfrm>
            <a:off x="1673809" y="3865411"/>
            <a:ext cx="3165526" cy="395691"/>
          </a:xfrm>
          <a:prstGeom prst="roundRect">
            <a:avLst>
              <a:gd name="adj" fmla="val 24382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b="1" kern="0">
                <a:solidFill>
                  <a:schemeClr val="accent3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Key user</a:t>
            </a:r>
            <a:endParaRPr lang="en-DE" sz="1099" b="1" kern="0">
              <a:solidFill>
                <a:schemeClr val="accent3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2" name="Rectangle: Rounded Corners 45">
            <a:extLst>
              <a:ext uri="{FF2B5EF4-FFF2-40B4-BE49-F238E27FC236}">
                <a16:creationId xmlns:a16="http://schemas.microsoft.com/office/drawing/2014/main" id="{EBDEA333-A00C-4AA7-F4E5-B22EB7DF35B9}"/>
              </a:ext>
            </a:extLst>
          </p:cNvPr>
          <p:cNvSpPr/>
          <p:nvPr/>
        </p:nvSpPr>
        <p:spPr bwMode="gray">
          <a:xfrm>
            <a:off x="5073264" y="3865411"/>
            <a:ext cx="3165526" cy="395691"/>
          </a:xfrm>
          <a:prstGeom prst="roundRect">
            <a:avLst>
              <a:gd name="adj" fmla="val 25925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b="1" kern="0">
                <a:solidFill>
                  <a:schemeClr val="accent3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BAP developer</a:t>
            </a:r>
            <a:endParaRPr lang="en-DE" sz="1099" i="1" kern="0">
              <a:solidFill>
                <a:schemeClr val="accent3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3" name="Rectangle: Rounded Corners 46">
            <a:extLst>
              <a:ext uri="{FF2B5EF4-FFF2-40B4-BE49-F238E27FC236}">
                <a16:creationId xmlns:a16="http://schemas.microsoft.com/office/drawing/2014/main" id="{5FD5ECD1-FD04-9D8D-C22D-6EC548744EA5}"/>
              </a:ext>
            </a:extLst>
          </p:cNvPr>
          <p:cNvSpPr/>
          <p:nvPr/>
        </p:nvSpPr>
        <p:spPr bwMode="gray">
          <a:xfrm>
            <a:off x="8472719" y="3867276"/>
            <a:ext cx="3165526" cy="395691"/>
          </a:xfrm>
          <a:prstGeom prst="roundRect">
            <a:avLst>
              <a:gd name="adj" fmla="val 25925"/>
            </a:avLst>
          </a:prstGeom>
          <a:solidFill>
            <a:srgbClr val="FFFFFF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99" b="1" ker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veloper</a:t>
            </a:r>
            <a:endParaRPr lang="en-DE" sz="1099" i="1" kern="0" err="1">
              <a:solidFill>
                <a:schemeClr val="accent1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4" name="Rectangle: Rounded Corners 50">
            <a:extLst>
              <a:ext uri="{FF2B5EF4-FFF2-40B4-BE49-F238E27FC236}">
                <a16:creationId xmlns:a16="http://schemas.microsoft.com/office/drawing/2014/main" id="{27A92B85-9043-4161-AB87-0931F38CDEC7}"/>
              </a:ext>
            </a:extLst>
          </p:cNvPr>
          <p:cNvSpPr/>
          <p:nvPr/>
        </p:nvSpPr>
        <p:spPr bwMode="gray">
          <a:xfrm>
            <a:off x="5071433" y="4366143"/>
            <a:ext cx="3165526" cy="1079157"/>
          </a:xfrm>
          <a:prstGeom prst="roundRect">
            <a:avLst>
              <a:gd name="adj" fmla="val 8469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0" tIns="35972" rIns="0" bIns="35972" rtlCol="0" anchor="ctr"/>
          <a:lstStyle/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velopment of extensions inside </a:t>
            </a:r>
            <a:b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the SAP S/4HANA Cloud system 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o remote access or data replication</a:t>
            </a:r>
          </a:p>
          <a:p>
            <a:pPr marL="134831" indent="-134831" fontAlgn="base"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se and extend released SAP S/4HANA Cloud objects</a:t>
            </a:r>
          </a:p>
        </p:txBody>
      </p:sp>
      <p:sp>
        <p:nvSpPr>
          <p:cNvPr id="25" name="Rectangle: Rounded Corners 51">
            <a:extLst>
              <a:ext uri="{FF2B5EF4-FFF2-40B4-BE49-F238E27FC236}">
                <a16:creationId xmlns:a16="http://schemas.microsoft.com/office/drawing/2014/main" id="{28630760-7587-21A4-1294-F269CE3A95CB}"/>
              </a:ext>
            </a:extLst>
          </p:cNvPr>
          <p:cNvSpPr/>
          <p:nvPr/>
        </p:nvSpPr>
        <p:spPr bwMode="gray">
          <a:xfrm>
            <a:off x="1673809" y="4366143"/>
            <a:ext cx="3165526" cy="1079157"/>
          </a:xfrm>
          <a:prstGeom prst="roundRect">
            <a:avLst>
              <a:gd name="adj" fmla="val 8014"/>
            </a:avLst>
          </a:prstGeom>
          <a:solidFill>
            <a:srgbClr val="FFFFFF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35972" tIns="35972" rIns="35972" bIns="35972" rtlCol="0" anchor="t"/>
          <a:lstStyle/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ully managed and integrated in </a:t>
            </a:r>
            <a:b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AP S/4HANA Cloud</a:t>
            </a:r>
          </a:p>
          <a:p>
            <a:pPr marL="134831" indent="-134831">
              <a:spcBef>
                <a:spcPts val="400"/>
              </a:spcBef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No or very basic development skills required</a:t>
            </a:r>
          </a:p>
        </p:txBody>
      </p:sp>
      <p:pic>
        <p:nvPicPr>
          <p:cNvPr id="26" name="Picture 25" descr="Logo&#10;&#10;Description automatically generated with medium confidence">
            <a:extLst>
              <a:ext uri="{FF2B5EF4-FFF2-40B4-BE49-F238E27FC236}">
                <a16:creationId xmlns:a16="http://schemas.microsoft.com/office/drawing/2014/main" id="{3DC72DDC-18CB-30A9-3AF0-1022572F017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1030" y="765683"/>
            <a:ext cx="609481" cy="609481"/>
          </a:xfrm>
          <a:prstGeom prst="rect">
            <a:avLst/>
          </a:prstGeom>
        </p:spPr>
      </p:pic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4601952B-8978-1617-47D4-8BE936D67AB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228" y="765683"/>
            <a:ext cx="609481" cy="609481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E4AD629-5780-CDEE-09EE-D5303806E1F0}"/>
              </a:ext>
            </a:extLst>
          </p:cNvPr>
          <p:cNvSpPr txBox="1"/>
          <p:nvPr/>
        </p:nvSpPr>
        <p:spPr>
          <a:xfrm>
            <a:off x="1668174" y="5532230"/>
            <a:ext cx="6568786" cy="318552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35972" rIns="0" bIns="35972" rtlCol="0" anchor="ctr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Extensibility Integrated </a:t>
            </a:r>
            <a:r>
              <a:rPr lang="de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</a:t>
            </a:r>
            <a:r>
              <a:rPr lang="en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n S</a:t>
            </a:r>
            <a:r>
              <a:rPr lang="de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P</a:t>
            </a:r>
            <a:r>
              <a:rPr lang="en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S/4</a:t>
            </a:r>
            <a:r>
              <a:rPr lang="de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HANA</a:t>
            </a:r>
            <a:r>
              <a:rPr lang="en-DE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Cloud</a:t>
            </a:r>
          </a:p>
        </p:txBody>
      </p:sp>
      <p:pic>
        <p:nvPicPr>
          <p:cNvPr id="29" name="Grafik 40">
            <a:extLst>
              <a:ext uri="{FF2B5EF4-FFF2-40B4-BE49-F238E27FC236}">
                <a16:creationId xmlns:a16="http://schemas.microsoft.com/office/drawing/2014/main" id="{76A9B751-F47D-3858-06D1-60C12EC3C07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29415" y="808328"/>
            <a:ext cx="343536" cy="566836"/>
          </a:xfrm>
          <a:prstGeom prst="rect">
            <a:avLst/>
          </a:prstGeom>
        </p:spPr>
      </p:pic>
      <p:sp>
        <p:nvSpPr>
          <p:cNvPr id="30" name="Rectangle: Rounded Corners 49">
            <a:extLst>
              <a:ext uri="{FF2B5EF4-FFF2-40B4-BE49-F238E27FC236}">
                <a16:creationId xmlns:a16="http://schemas.microsoft.com/office/drawing/2014/main" id="{F30A1953-8025-CF5D-0255-20AC724E8F2F}"/>
              </a:ext>
            </a:extLst>
          </p:cNvPr>
          <p:cNvSpPr/>
          <p:nvPr/>
        </p:nvSpPr>
        <p:spPr bwMode="gray">
          <a:xfrm>
            <a:off x="8469059" y="4366143"/>
            <a:ext cx="3165526" cy="1079157"/>
          </a:xfrm>
          <a:prstGeom prst="roundRect">
            <a:avLst>
              <a:gd name="adj" fmla="val 10543"/>
            </a:avLst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89930" tIns="71944" rIns="89930" bIns="71944" rtlCol="0" anchor="t"/>
          <a:lstStyle/>
          <a:p>
            <a:pPr marL="134831" indent="-134831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  <a:buChar char="§"/>
            </a:pP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coupled extensions independent </a:t>
            </a:r>
            <a:b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of SAP S/4HANA Cloud operation </a:t>
            </a:r>
            <a:b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</a:br>
            <a:r>
              <a:rPr lang="en-US" sz="1099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nd lifecycle manageme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9F6E80A-43DE-2851-768F-B73320848074}"/>
              </a:ext>
            </a:extLst>
          </p:cNvPr>
          <p:cNvSpPr txBox="1"/>
          <p:nvPr/>
        </p:nvSpPr>
        <p:spPr>
          <a:xfrm>
            <a:off x="8469059" y="5532229"/>
            <a:ext cx="3165526" cy="318552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35972" rIns="0" bIns="35972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GB" sz="1399" kern="0">
                <a:solidFill>
                  <a:schemeClr val="bg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ide-by-Side Extensibility</a:t>
            </a:r>
          </a:p>
        </p:txBody>
      </p:sp>
    </p:spTree>
    <p:extLst>
      <p:ext uri="{BB962C8B-B14F-4D97-AF65-F5344CB8AC3E}">
        <p14:creationId xmlns:p14="http://schemas.microsoft.com/office/powerpoint/2010/main" val="44541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3DFB62-7C31-4A8C-AECF-B62B0F826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221"/>
            <a:ext cx="11180653" cy="369140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ease and Update Cycle* </a:t>
            </a:r>
          </a:p>
        </p:txBody>
      </p:sp>
      <p:sp>
        <p:nvSpPr>
          <p:cNvPr id="123" name="Slide number">
            <a:extLst>
              <a:ext uri="{FF2B5EF4-FFF2-40B4-BE49-F238E27FC236}">
                <a16:creationId xmlns:a16="http://schemas.microsoft.com/office/drawing/2014/main" id="{50C1D87D-F974-F24A-8C5E-4C3D94B29DBF}"/>
              </a:ext>
            </a:extLst>
          </p:cNvPr>
          <p:cNvSpPr txBox="1"/>
          <p:nvPr/>
        </p:nvSpPr>
        <p:spPr bwMode="black">
          <a:xfrm>
            <a:off x="11570623" y="6535135"/>
            <a:ext cx="115356" cy="1384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indent="0" algn="r">
              <a:buNone/>
            </a:pPr>
            <a:fld id="{0BDC132A-5C91-4078-9777-31DA19A62E0A}" type="slidenum">
              <a:rPr lang="en-US" sz="900"/>
              <a:pPr marL="0" indent="0" algn="r">
                <a:buNone/>
              </a:pPr>
              <a:t>13</a:t>
            </a:fld>
            <a:endParaRPr lang="en-US" sz="900"/>
          </a:p>
        </p:txBody>
      </p:sp>
      <p:sp>
        <p:nvSpPr>
          <p:cNvPr id="124" name="Classification">
            <a:extLst>
              <a:ext uri="{FF2B5EF4-FFF2-40B4-BE49-F238E27FC236}">
                <a16:creationId xmlns:a16="http://schemas.microsoft.com/office/drawing/2014/main" id="{FB01B6C8-CF81-1643-9409-3F1B33F9A8AB}"/>
              </a:ext>
            </a:extLst>
          </p:cNvPr>
          <p:cNvSpPr txBox="1"/>
          <p:nvPr/>
        </p:nvSpPr>
        <p:spPr bwMode="black">
          <a:xfrm>
            <a:off x="2814778" y="6558206"/>
            <a:ext cx="224303" cy="922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014">
              <a:buClr>
                <a:schemeClr val="tx1"/>
              </a:buClr>
              <a:defRPr/>
            </a:pPr>
            <a:r>
              <a:rPr lang="en-US" sz="600" kern="0">
                <a:ea typeface="Arial Unicode MS"/>
                <a:cs typeface="Arial Unicode MS" pitchFamily="34" charset="-128"/>
                <a:sym typeface="Arial"/>
              </a:rPr>
              <a:t>PUBLIC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B8304A-2D84-4C42-A282-EA3AD2EC6D8D}"/>
              </a:ext>
            </a:extLst>
          </p:cNvPr>
          <p:cNvSpPr txBox="1"/>
          <p:nvPr/>
        </p:nvSpPr>
        <p:spPr>
          <a:xfrm>
            <a:off x="6144635" y="6287051"/>
            <a:ext cx="5976634" cy="1384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>
                <a:ea typeface="Arial Unicode MS" pitchFamily="34" charset="-128"/>
                <a:cs typeface="Arial Unicode MS" pitchFamily="34" charset="-128"/>
              </a:rPr>
              <a:t>*This is the current state of planning and may be changed by SAP at any time without notice</a:t>
            </a:r>
            <a:endParaRPr lang="en-DE" sz="900" kern="0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077B591-41FB-42CD-940D-2974DDBF3966}"/>
              </a:ext>
            </a:extLst>
          </p:cNvPr>
          <p:cNvGrpSpPr/>
          <p:nvPr/>
        </p:nvGrpSpPr>
        <p:grpSpPr>
          <a:xfrm>
            <a:off x="1144503" y="1381442"/>
            <a:ext cx="9899824" cy="4048718"/>
            <a:chOff x="318099" y="1857412"/>
            <a:chExt cx="10939958" cy="4474101"/>
          </a:xfrm>
        </p:grpSpPr>
        <p:sp>
          <p:nvSpPr>
            <p:cNvPr id="81" name="Freeform 102">
              <a:extLst>
                <a:ext uri="{FF2B5EF4-FFF2-40B4-BE49-F238E27FC236}">
                  <a16:creationId xmlns:a16="http://schemas.microsoft.com/office/drawing/2014/main" id="{9E7AAEAC-4CEE-47B8-B193-46FB510D9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2640" y="2177138"/>
              <a:ext cx="1821178" cy="1161169"/>
            </a:xfrm>
            <a:custGeom>
              <a:avLst/>
              <a:gdLst>
                <a:gd name="T0" fmla="*/ 2087 w 10129"/>
                <a:gd name="T1" fmla="*/ 6451 h 6451"/>
                <a:gd name="T2" fmla="*/ 8506 w 10129"/>
                <a:gd name="T3" fmla="*/ 6451 h 6451"/>
                <a:gd name="T4" fmla="*/ 10129 w 10129"/>
                <a:gd name="T5" fmla="*/ 4829 h 6451"/>
                <a:gd name="T6" fmla="*/ 8403 w 10129"/>
                <a:gd name="T7" fmla="*/ 3210 h 6451"/>
                <a:gd name="T8" fmla="*/ 6836 w 10129"/>
                <a:gd name="T9" fmla="*/ 1807 h 6451"/>
                <a:gd name="T10" fmla="*/ 4226 w 10129"/>
                <a:gd name="T11" fmla="*/ 0 h 6451"/>
                <a:gd name="T12" fmla="*/ 1471 w 10129"/>
                <a:gd name="T13" fmla="*/ 2367 h 6451"/>
                <a:gd name="T14" fmla="*/ 0 w 10129"/>
                <a:gd name="T15" fmla="*/ 4362 h 6451"/>
                <a:gd name="T16" fmla="*/ 2087 w 10129"/>
                <a:gd name="T17" fmla="*/ 6451 h 6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29" h="6451">
                  <a:moveTo>
                    <a:pt x="2087" y="6451"/>
                  </a:moveTo>
                  <a:lnTo>
                    <a:pt x="8506" y="6451"/>
                  </a:lnTo>
                  <a:cubicBezTo>
                    <a:pt x="9401" y="6451"/>
                    <a:pt x="10129" y="5723"/>
                    <a:pt x="10129" y="4829"/>
                  </a:cubicBezTo>
                  <a:cubicBezTo>
                    <a:pt x="10129" y="3900"/>
                    <a:pt x="9344" y="3150"/>
                    <a:pt x="8403" y="3210"/>
                  </a:cubicBezTo>
                  <a:cubicBezTo>
                    <a:pt x="8306" y="2422"/>
                    <a:pt x="7641" y="1819"/>
                    <a:pt x="6836" y="1807"/>
                  </a:cubicBezTo>
                  <a:cubicBezTo>
                    <a:pt x="6429" y="723"/>
                    <a:pt x="5391" y="0"/>
                    <a:pt x="4226" y="0"/>
                  </a:cubicBezTo>
                  <a:cubicBezTo>
                    <a:pt x="2847" y="0"/>
                    <a:pt x="1676" y="1012"/>
                    <a:pt x="1471" y="2367"/>
                  </a:cubicBezTo>
                  <a:cubicBezTo>
                    <a:pt x="601" y="2636"/>
                    <a:pt x="0" y="3445"/>
                    <a:pt x="0" y="4362"/>
                  </a:cubicBezTo>
                  <a:cubicBezTo>
                    <a:pt x="0" y="5514"/>
                    <a:pt x="936" y="6451"/>
                    <a:pt x="2087" y="645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1087905">
                <a:defRPr/>
              </a:pPr>
              <a:endParaRPr lang="en-US" sz="1199">
                <a:solidFill>
                  <a:srgbClr val="000000"/>
                </a:solidFill>
              </a:endParaRPr>
            </a:p>
          </p:txBody>
        </p:sp>
        <p:sp>
          <p:nvSpPr>
            <p:cNvPr id="82" name="Freeform 102">
              <a:extLst>
                <a:ext uri="{FF2B5EF4-FFF2-40B4-BE49-F238E27FC236}">
                  <a16:creationId xmlns:a16="http://schemas.microsoft.com/office/drawing/2014/main" id="{79E73C76-BD93-4E21-939C-B36EE30CB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583" y="2169257"/>
              <a:ext cx="1821178" cy="1161169"/>
            </a:xfrm>
            <a:custGeom>
              <a:avLst/>
              <a:gdLst>
                <a:gd name="T0" fmla="*/ 2087 w 10129"/>
                <a:gd name="T1" fmla="*/ 6451 h 6451"/>
                <a:gd name="T2" fmla="*/ 8506 w 10129"/>
                <a:gd name="T3" fmla="*/ 6451 h 6451"/>
                <a:gd name="T4" fmla="*/ 10129 w 10129"/>
                <a:gd name="T5" fmla="*/ 4829 h 6451"/>
                <a:gd name="T6" fmla="*/ 8403 w 10129"/>
                <a:gd name="T7" fmla="*/ 3210 h 6451"/>
                <a:gd name="T8" fmla="*/ 6836 w 10129"/>
                <a:gd name="T9" fmla="*/ 1807 h 6451"/>
                <a:gd name="T10" fmla="*/ 4226 w 10129"/>
                <a:gd name="T11" fmla="*/ 0 h 6451"/>
                <a:gd name="T12" fmla="*/ 1471 w 10129"/>
                <a:gd name="T13" fmla="*/ 2367 h 6451"/>
                <a:gd name="T14" fmla="*/ 0 w 10129"/>
                <a:gd name="T15" fmla="*/ 4362 h 6451"/>
                <a:gd name="T16" fmla="*/ 2087 w 10129"/>
                <a:gd name="T17" fmla="*/ 6451 h 6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29" h="6451">
                  <a:moveTo>
                    <a:pt x="2087" y="6451"/>
                  </a:moveTo>
                  <a:lnTo>
                    <a:pt x="8506" y="6451"/>
                  </a:lnTo>
                  <a:cubicBezTo>
                    <a:pt x="9401" y="6451"/>
                    <a:pt x="10129" y="5723"/>
                    <a:pt x="10129" y="4829"/>
                  </a:cubicBezTo>
                  <a:cubicBezTo>
                    <a:pt x="10129" y="3900"/>
                    <a:pt x="9344" y="3150"/>
                    <a:pt x="8403" y="3210"/>
                  </a:cubicBezTo>
                  <a:cubicBezTo>
                    <a:pt x="8306" y="2422"/>
                    <a:pt x="7641" y="1819"/>
                    <a:pt x="6836" y="1807"/>
                  </a:cubicBezTo>
                  <a:cubicBezTo>
                    <a:pt x="6429" y="723"/>
                    <a:pt x="5391" y="0"/>
                    <a:pt x="4226" y="0"/>
                  </a:cubicBezTo>
                  <a:cubicBezTo>
                    <a:pt x="2847" y="0"/>
                    <a:pt x="1676" y="1012"/>
                    <a:pt x="1471" y="2367"/>
                  </a:cubicBezTo>
                  <a:cubicBezTo>
                    <a:pt x="601" y="2636"/>
                    <a:pt x="0" y="3445"/>
                    <a:pt x="0" y="4362"/>
                  </a:cubicBezTo>
                  <a:cubicBezTo>
                    <a:pt x="0" y="5514"/>
                    <a:pt x="936" y="6451"/>
                    <a:pt x="2087" y="645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1087905">
                <a:defRPr/>
              </a:pPr>
              <a:endParaRPr lang="en-US" sz="1199">
                <a:solidFill>
                  <a:srgbClr val="000000"/>
                </a:solidFill>
              </a:endParaRPr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567840AC-C7EE-484A-8675-8F7C1CF5F16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65047" y="4508231"/>
              <a:ext cx="18" cy="1607980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20595C8B-CB82-4E43-9A70-2F3E3FA6764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02369" y="4500463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45A9514D-8D95-4846-8142-CC30D89E21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63077" y="4500463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475BCA20-84AA-45ED-9810-2B250D8088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52297" y="4541104"/>
              <a:ext cx="165" cy="1564946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7FDCAD4E-3F56-47A7-ACAD-39308268E6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63527" y="4479165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27D668EE-D1D1-444C-8545-4529550F12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61224" y="4498070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F5DB7D9C-1692-4B30-8963-EC1ECAB85F44}"/>
                </a:ext>
              </a:extLst>
            </p:cNvPr>
            <p:cNvSpPr/>
            <p:nvPr/>
          </p:nvSpPr>
          <p:spPr>
            <a:xfrm>
              <a:off x="948161" y="6193014"/>
              <a:ext cx="9715552" cy="1384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456347">
                <a:spcBef>
                  <a:spcPct val="50000"/>
                </a:spcBef>
                <a:buClr>
                  <a:srgbClr val="F0AB00"/>
                </a:buClr>
                <a:buSzPct val="100000"/>
                <a:defRPr/>
              </a:pPr>
              <a:r>
                <a:rPr lang="en-US" sz="800" i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ntinuous innovation updates</a:t>
              </a: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C95C44A-F298-421A-891B-D1D1BCE9C057}"/>
                </a:ext>
              </a:extLst>
            </p:cNvPr>
            <p:cNvGrpSpPr/>
            <p:nvPr/>
          </p:nvGrpSpPr>
          <p:grpSpPr>
            <a:xfrm>
              <a:off x="1173941" y="2160828"/>
              <a:ext cx="1994695" cy="1214599"/>
              <a:chOff x="294274" y="970937"/>
              <a:chExt cx="2307596" cy="1405130"/>
            </a:xfrm>
          </p:grpSpPr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A80ADCE6-3172-48A5-BBC8-88FFF356127F}"/>
                  </a:ext>
                </a:extLst>
              </p:cNvPr>
              <p:cNvGrpSpPr/>
              <p:nvPr/>
            </p:nvGrpSpPr>
            <p:grpSpPr>
              <a:xfrm>
                <a:off x="294274" y="970937"/>
                <a:ext cx="2307596" cy="1382164"/>
                <a:chOff x="2124605" y="4157898"/>
                <a:chExt cx="2838263" cy="1700012"/>
              </a:xfrm>
            </p:grpSpPr>
            <p:sp>
              <p:nvSpPr>
                <p:cNvPr id="165" name="Freeform 102">
                  <a:extLst>
                    <a:ext uri="{FF2B5EF4-FFF2-40B4-BE49-F238E27FC236}">
                      <a16:creationId xmlns:a16="http://schemas.microsoft.com/office/drawing/2014/main" id="{17B978F9-B7B8-4091-A55F-E57161334B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1503" y="4157898"/>
                  <a:ext cx="2591365" cy="1652233"/>
                </a:xfrm>
                <a:custGeom>
                  <a:avLst/>
                  <a:gdLst>
                    <a:gd name="T0" fmla="*/ 2087 w 10129"/>
                    <a:gd name="T1" fmla="*/ 6451 h 6451"/>
                    <a:gd name="T2" fmla="*/ 8506 w 10129"/>
                    <a:gd name="T3" fmla="*/ 6451 h 6451"/>
                    <a:gd name="T4" fmla="*/ 10129 w 10129"/>
                    <a:gd name="T5" fmla="*/ 4829 h 6451"/>
                    <a:gd name="T6" fmla="*/ 8403 w 10129"/>
                    <a:gd name="T7" fmla="*/ 3210 h 6451"/>
                    <a:gd name="T8" fmla="*/ 6836 w 10129"/>
                    <a:gd name="T9" fmla="*/ 1807 h 6451"/>
                    <a:gd name="T10" fmla="*/ 4226 w 10129"/>
                    <a:gd name="T11" fmla="*/ 0 h 6451"/>
                    <a:gd name="T12" fmla="*/ 1471 w 10129"/>
                    <a:gd name="T13" fmla="*/ 2367 h 6451"/>
                    <a:gd name="T14" fmla="*/ 0 w 10129"/>
                    <a:gd name="T15" fmla="*/ 4362 h 6451"/>
                    <a:gd name="T16" fmla="*/ 2087 w 10129"/>
                    <a:gd name="T17" fmla="*/ 6451 h 6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29" h="6451">
                      <a:moveTo>
                        <a:pt x="2087" y="6451"/>
                      </a:moveTo>
                      <a:lnTo>
                        <a:pt x="8506" y="6451"/>
                      </a:lnTo>
                      <a:cubicBezTo>
                        <a:pt x="9401" y="6451"/>
                        <a:pt x="10129" y="5723"/>
                        <a:pt x="10129" y="4829"/>
                      </a:cubicBezTo>
                      <a:cubicBezTo>
                        <a:pt x="10129" y="3900"/>
                        <a:pt x="9344" y="3150"/>
                        <a:pt x="8403" y="3210"/>
                      </a:cubicBezTo>
                      <a:cubicBezTo>
                        <a:pt x="8306" y="2422"/>
                        <a:pt x="7641" y="1819"/>
                        <a:pt x="6836" y="1807"/>
                      </a:cubicBezTo>
                      <a:cubicBezTo>
                        <a:pt x="6429" y="723"/>
                        <a:pt x="5391" y="0"/>
                        <a:pt x="4226" y="0"/>
                      </a:cubicBezTo>
                      <a:cubicBezTo>
                        <a:pt x="2847" y="0"/>
                        <a:pt x="1676" y="1012"/>
                        <a:pt x="1471" y="2367"/>
                      </a:cubicBezTo>
                      <a:cubicBezTo>
                        <a:pt x="601" y="2636"/>
                        <a:pt x="0" y="3445"/>
                        <a:pt x="0" y="4362"/>
                      </a:cubicBezTo>
                      <a:cubicBezTo>
                        <a:pt x="0" y="5514"/>
                        <a:pt x="936" y="6451"/>
                        <a:pt x="2087" y="6451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28575">
                  <a:noFill/>
                  <a:round/>
                  <a:headEnd/>
                  <a:tailEnd/>
                </a:ln>
              </p:spPr>
              <p:txBody>
                <a:bodyPr vert="horz" wrap="square" lIns="91344" tIns="45672" rIns="91344" bIns="456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87905">
                    <a:defRPr/>
                  </a:pPr>
                  <a:endParaRPr lang="en-US" sz="1199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6" name="Freeform 102">
                  <a:extLst>
                    <a:ext uri="{FF2B5EF4-FFF2-40B4-BE49-F238E27FC236}">
                      <a16:creationId xmlns:a16="http://schemas.microsoft.com/office/drawing/2014/main" id="{CBE9CDE4-EBBA-411B-B44D-586F365372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4605" y="4205679"/>
                  <a:ext cx="2591365" cy="1652233"/>
                </a:xfrm>
                <a:custGeom>
                  <a:avLst/>
                  <a:gdLst>
                    <a:gd name="T0" fmla="*/ 2087 w 10129"/>
                    <a:gd name="T1" fmla="*/ 6451 h 6451"/>
                    <a:gd name="T2" fmla="*/ 8506 w 10129"/>
                    <a:gd name="T3" fmla="*/ 6451 h 6451"/>
                    <a:gd name="T4" fmla="*/ 10129 w 10129"/>
                    <a:gd name="T5" fmla="*/ 4829 h 6451"/>
                    <a:gd name="T6" fmla="*/ 8403 w 10129"/>
                    <a:gd name="T7" fmla="*/ 3210 h 6451"/>
                    <a:gd name="T8" fmla="*/ 6836 w 10129"/>
                    <a:gd name="T9" fmla="*/ 1807 h 6451"/>
                    <a:gd name="T10" fmla="*/ 4226 w 10129"/>
                    <a:gd name="T11" fmla="*/ 0 h 6451"/>
                    <a:gd name="T12" fmla="*/ 1471 w 10129"/>
                    <a:gd name="T13" fmla="*/ 2367 h 6451"/>
                    <a:gd name="T14" fmla="*/ 0 w 10129"/>
                    <a:gd name="T15" fmla="*/ 4362 h 6451"/>
                    <a:gd name="T16" fmla="*/ 2087 w 10129"/>
                    <a:gd name="T17" fmla="*/ 6451 h 6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29" h="6451">
                      <a:moveTo>
                        <a:pt x="2087" y="6451"/>
                      </a:moveTo>
                      <a:lnTo>
                        <a:pt x="8506" y="6451"/>
                      </a:lnTo>
                      <a:cubicBezTo>
                        <a:pt x="9401" y="6451"/>
                        <a:pt x="10129" y="5723"/>
                        <a:pt x="10129" y="4829"/>
                      </a:cubicBezTo>
                      <a:cubicBezTo>
                        <a:pt x="10129" y="3900"/>
                        <a:pt x="9344" y="3150"/>
                        <a:pt x="8403" y="3210"/>
                      </a:cubicBezTo>
                      <a:cubicBezTo>
                        <a:pt x="8306" y="2422"/>
                        <a:pt x="7641" y="1819"/>
                        <a:pt x="6836" y="1807"/>
                      </a:cubicBezTo>
                      <a:cubicBezTo>
                        <a:pt x="6429" y="723"/>
                        <a:pt x="5391" y="0"/>
                        <a:pt x="4226" y="0"/>
                      </a:cubicBezTo>
                      <a:cubicBezTo>
                        <a:pt x="2847" y="0"/>
                        <a:pt x="1676" y="1012"/>
                        <a:pt x="1471" y="2367"/>
                      </a:cubicBezTo>
                      <a:cubicBezTo>
                        <a:pt x="601" y="2636"/>
                        <a:pt x="0" y="3445"/>
                        <a:pt x="0" y="4362"/>
                      </a:cubicBezTo>
                      <a:cubicBezTo>
                        <a:pt x="0" y="5514"/>
                        <a:pt x="936" y="6451"/>
                        <a:pt x="2087" y="64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344" tIns="45672" rIns="91344" bIns="456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87905">
                    <a:defRPr/>
                  </a:pPr>
                  <a:endParaRPr lang="en-US" sz="1199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324F0455-6F75-4A1A-BB3F-C15FEAAAE810}"/>
                  </a:ext>
                </a:extLst>
              </p:cNvPr>
              <p:cNvSpPr txBox="1"/>
              <p:nvPr/>
            </p:nvSpPr>
            <p:spPr>
              <a:xfrm>
                <a:off x="454951" y="1668381"/>
                <a:ext cx="1708424" cy="70768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 defTabSz="1087905" fontAlgn="base">
                  <a:spcBef>
                    <a:spcPts val="6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r>
                  <a:rPr lang="en-US" sz="1199" b="1" kern="0">
                    <a:solidFill>
                      <a:srgbClr val="000000"/>
                    </a:solidFill>
                    <a:ea typeface="Arial" pitchFamily="34" charset="-128"/>
                    <a:cs typeface="Arial"/>
                  </a:rPr>
                  <a:t>SAP S/4HANA Cloud </a:t>
                </a:r>
                <a:r>
                  <a:rPr lang="en-US" sz="1199" b="1" kern="0">
                    <a:solidFill>
                      <a:srgbClr val="008FD3"/>
                    </a:solidFill>
                    <a:ea typeface="Arial" pitchFamily="34" charset="-128"/>
                    <a:cs typeface="Arial"/>
                  </a:rPr>
                  <a:t>2202</a:t>
                </a:r>
                <a:br>
                  <a:rPr lang="en-US" sz="1199" b="1" kern="0">
                    <a:solidFill>
                      <a:srgbClr val="000000"/>
                    </a:solidFill>
                    <a:ea typeface="Arial" pitchFamily="34" charset="-128"/>
                    <a:cs typeface="Arial" panose="020B0604020202020204" pitchFamily="34" charset="0"/>
                  </a:rPr>
                </a:br>
                <a:endParaRPr lang="en-US" sz="1199" kern="0">
                  <a:solidFill>
                    <a:srgbClr val="000000"/>
                  </a:solidFill>
                  <a:ea typeface="Arial" pitchFamily="34" charset="-128"/>
                  <a:cs typeface="Arial"/>
                </a:endParaRPr>
              </a:p>
            </p:txBody>
          </p: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997139F3-E8FF-4E95-ACCB-E359A74089EA}"/>
                </a:ext>
              </a:extLst>
            </p:cNvPr>
            <p:cNvGrpSpPr/>
            <p:nvPr/>
          </p:nvGrpSpPr>
          <p:grpSpPr>
            <a:xfrm>
              <a:off x="3573533" y="2160828"/>
              <a:ext cx="1994695" cy="1214599"/>
              <a:chOff x="294274" y="970937"/>
              <a:chExt cx="2307596" cy="1405130"/>
            </a:xfrm>
          </p:grpSpPr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3136B3E9-C2EA-4166-956A-0910D21FBBC2}"/>
                  </a:ext>
                </a:extLst>
              </p:cNvPr>
              <p:cNvGrpSpPr/>
              <p:nvPr/>
            </p:nvGrpSpPr>
            <p:grpSpPr>
              <a:xfrm>
                <a:off x="294274" y="970937"/>
                <a:ext cx="2307596" cy="1382164"/>
                <a:chOff x="2124605" y="4157898"/>
                <a:chExt cx="2838263" cy="1700012"/>
              </a:xfrm>
            </p:grpSpPr>
            <p:sp>
              <p:nvSpPr>
                <p:cNvPr id="161" name="Freeform 102">
                  <a:extLst>
                    <a:ext uri="{FF2B5EF4-FFF2-40B4-BE49-F238E27FC236}">
                      <a16:creationId xmlns:a16="http://schemas.microsoft.com/office/drawing/2014/main" id="{A4365E16-0FC8-403D-B843-FA5AADC3F2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1503" y="4157898"/>
                  <a:ext cx="2591365" cy="1652233"/>
                </a:xfrm>
                <a:custGeom>
                  <a:avLst/>
                  <a:gdLst>
                    <a:gd name="T0" fmla="*/ 2087 w 10129"/>
                    <a:gd name="T1" fmla="*/ 6451 h 6451"/>
                    <a:gd name="T2" fmla="*/ 8506 w 10129"/>
                    <a:gd name="T3" fmla="*/ 6451 h 6451"/>
                    <a:gd name="T4" fmla="*/ 10129 w 10129"/>
                    <a:gd name="T5" fmla="*/ 4829 h 6451"/>
                    <a:gd name="T6" fmla="*/ 8403 w 10129"/>
                    <a:gd name="T7" fmla="*/ 3210 h 6451"/>
                    <a:gd name="T8" fmla="*/ 6836 w 10129"/>
                    <a:gd name="T9" fmla="*/ 1807 h 6451"/>
                    <a:gd name="T10" fmla="*/ 4226 w 10129"/>
                    <a:gd name="T11" fmla="*/ 0 h 6451"/>
                    <a:gd name="T12" fmla="*/ 1471 w 10129"/>
                    <a:gd name="T13" fmla="*/ 2367 h 6451"/>
                    <a:gd name="T14" fmla="*/ 0 w 10129"/>
                    <a:gd name="T15" fmla="*/ 4362 h 6451"/>
                    <a:gd name="T16" fmla="*/ 2087 w 10129"/>
                    <a:gd name="T17" fmla="*/ 6451 h 6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29" h="6451">
                      <a:moveTo>
                        <a:pt x="2087" y="6451"/>
                      </a:moveTo>
                      <a:lnTo>
                        <a:pt x="8506" y="6451"/>
                      </a:lnTo>
                      <a:cubicBezTo>
                        <a:pt x="9401" y="6451"/>
                        <a:pt x="10129" y="5723"/>
                        <a:pt x="10129" y="4829"/>
                      </a:cubicBezTo>
                      <a:cubicBezTo>
                        <a:pt x="10129" y="3900"/>
                        <a:pt x="9344" y="3150"/>
                        <a:pt x="8403" y="3210"/>
                      </a:cubicBezTo>
                      <a:cubicBezTo>
                        <a:pt x="8306" y="2422"/>
                        <a:pt x="7641" y="1819"/>
                        <a:pt x="6836" y="1807"/>
                      </a:cubicBezTo>
                      <a:cubicBezTo>
                        <a:pt x="6429" y="723"/>
                        <a:pt x="5391" y="0"/>
                        <a:pt x="4226" y="0"/>
                      </a:cubicBezTo>
                      <a:cubicBezTo>
                        <a:pt x="2847" y="0"/>
                        <a:pt x="1676" y="1012"/>
                        <a:pt x="1471" y="2367"/>
                      </a:cubicBezTo>
                      <a:cubicBezTo>
                        <a:pt x="601" y="2636"/>
                        <a:pt x="0" y="3445"/>
                        <a:pt x="0" y="4362"/>
                      </a:cubicBezTo>
                      <a:cubicBezTo>
                        <a:pt x="0" y="5514"/>
                        <a:pt x="936" y="6451"/>
                        <a:pt x="2087" y="6451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28575">
                  <a:noFill/>
                  <a:round/>
                  <a:headEnd/>
                  <a:tailEnd/>
                </a:ln>
              </p:spPr>
              <p:txBody>
                <a:bodyPr vert="horz" wrap="square" lIns="91344" tIns="45672" rIns="91344" bIns="456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87905">
                    <a:defRPr/>
                  </a:pPr>
                  <a:endParaRPr lang="en-US" sz="1199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2" name="Freeform 102">
                  <a:extLst>
                    <a:ext uri="{FF2B5EF4-FFF2-40B4-BE49-F238E27FC236}">
                      <a16:creationId xmlns:a16="http://schemas.microsoft.com/office/drawing/2014/main" id="{CBCC4223-5388-4C6E-9ABF-B8D1C1FA6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4605" y="4205679"/>
                  <a:ext cx="2591365" cy="1652233"/>
                </a:xfrm>
                <a:custGeom>
                  <a:avLst/>
                  <a:gdLst>
                    <a:gd name="T0" fmla="*/ 2087 w 10129"/>
                    <a:gd name="T1" fmla="*/ 6451 h 6451"/>
                    <a:gd name="T2" fmla="*/ 8506 w 10129"/>
                    <a:gd name="T3" fmla="*/ 6451 h 6451"/>
                    <a:gd name="T4" fmla="*/ 10129 w 10129"/>
                    <a:gd name="T5" fmla="*/ 4829 h 6451"/>
                    <a:gd name="T6" fmla="*/ 8403 w 10129"/>
                    <a:gd name="T7" fmla="*/ 3210 h 6451"/>
                    <a:gd name="T8" fmla="*/ 6836 w 10129"/>
                    <a:gd name="T9" fmla="*/ 1807 h 6451"/>
                    <a:gd name="T10" fmla="*/ 4226 w 10129"/>
                    <a:gd name="T11" fmla="*/ 0 h 6451"/>
                    <a:gd name="T12" fmla="*/ 1471 w 10129"/>
                    <a:gd name="T13" fmla="*/ 2367 h 6451"/>
                    <a:gd name="T14" fmla="*/ 0 w 10129"/>
                    <a:gd name="T15" fmla="*/ 4362 h 6451"/>
                    <a:gd name="T16" fmla="*/ 2087 w 10129"/>
                    <a:gd name="T17" fmla="*/ 6451 h 6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29" h="6451">
                      <a:moveTo>
                        <a:pt x="2087" y="6451"/>
                      </a:moveTo>
                      <a:lnTo>
                        <a:pt x="8506" y="6451"/>
                      </a:lnTo>
                      <a:cubicBezTo>
                        <a:pt x="9401" y="6451"/>
                        <a:pt x="10129" y="5723"/>
                        <a:pt x="10129" y="4829"/>
                      </a:cubicBezTo>
                      <a:cubicBezTo>
                        <a:pt x="10129" y="3900"/>
                        <a:pt x="9344" y="3150"/>
                        <a:pt x="8403" y="3210"/>
                      </a:cubicBezTo>
                      <a:cubicBezTo>
                        <a:pt x="8306" y="2422"/>
                        <a:pt x="7641" y="1819"/>
                        <a:pt x="6836" y="1807"/>
                      </a:cubicBezTo>
                      <a:cubicBezTo>
                        <a:pt x="6429" y="723"/>
                        <a:pt x="5391" y="0"/>
                        <a:pt x="4226" y="0"/>
                      </a:cubicBezTo>
                      <a:cubicBezTo>
                        <a:pt x="2847" y="0"/>
                        <a:pt x="1676" y="1012"/>
                        <a:pt x="1471" y="2367"/>
                      </a:cubicBezTo>
                      <a:cubicBezTo>
                        <a:pt x="601" y="2636"/>
                        <a:pt x="0" y="3445"/>
                        <a:pt x="0" y="4362"/>
                      </a:cubicBezTo>
                      <a:cubicBezTo>
                        <a:pt x="0" y="5514"/>
                        <a:pt x="936" y="6451"/>
                        <a:pt x="2087" y="645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540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344" tIns="45672" rIns="91344" bIns="456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87905">
                    <a:defRPr/>
                  </a:pPr>
                  <a:endParaRPr lang="en-US" sz="1199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0A664471-4856-4DC0-B35C-EF1DDA1146E4}"/>
                  </a:ext>
                </a:extLst>
              </p:cNvPr>
              <p:cNvSpPr txBox="1"/>
              <p:nvPr/>
            </p:nvSpPr>
            <p:spPr>
              <a:xfrm>
                <a:off x="454951" y="1668381"/>
                <a:ext cx="1708424" cy="70768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algn="ctr" defTabSz="1087905" fontAlgn="base">
                  <a:spcBef>
                    <a:spcPts val="6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r>
                  <a:rPr lang="en-US" sz="1199" b="1" kern="0">
                    <a:solidFill>
                      <a:srgbClr val="000000"/>
                    </a:solidFill>
                    <a:ea typeface="Arial" pitchFamily="34" charset="-128"/>
                    <a:cs typeface="Arial"/>
                  </a:rPr>
                  <a:t>SAP S/4HANA Cloud </a:t>
                </a:r>
                <a:r>
                  <a:rPr lang="en-US" sz="1199" b="1" kern="0">
                    <a:solidFill>
                      <a:srgbClr val="008FD3"/>
                    </a:solidFill>
                    <a:ea typeface="Arial" pitchFamily="34" charset="-128"/>
                    <a:cs typeface="Arial"/>
                  </a:rPr>
                  <a:t>2208</a:t>
                </a:r>
                <a:br>
                  <a:rPr lang="en-US" sz="1199" b="1" kern="0">
                    <a:solidFill>
                      <a:srgbClr val="000000"/>
                    </a:solidFill>
                    <a:ea typeface="Arial" pitchFamily="34" charset="-128"/>
                    <a:cs typeface="Arial" panose="020B0604020202020204" pitchFamily="34" charset="0"/>
                  </a:rPr>
                </a:br>
                <a:endParaRPr lang="en-US" sz="1199" kern="0">
                  <a:solidFill>
                    <a:srgbClr val="000000"/>
                  </a:solidFill>
                  <a:ea typeface="Arial" pitchFamily="34" charset="-128"/>
                  <a:cs typeface="Arial"/>
                </a:endParaRPr>
              </a:p>
            </p:txBody>
          </p:sp>
        </p:grpSp>
        <p:sp>
          <p:nvSpPr>
            <p:cNvPr id="92" name="Pentagon 46">
              <a:extLst>
                <a:ext uri="{FF2B5EF4-FFF2-40B4-BE49-F238E27FC236}">
                  <a16:creationId xmlns:a16="http://schemas.microsoft.com/office/drawing/2014/main" id="{DF7EF576-5C58-4B30-8B33-45BA8824896A}"/>
                </a:ext>
              </a:extLst>
            </p:cNvPr>
            <p:cNvSpPr/>
            <p:nvPr/>
          </p:nvSpPr>
          <p:spPr>
            <a:xfrm>
              <a:off x="1607321" y="466184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EABFF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2.1</a:t>
              </a:r>
            </a:p>
          </p:txBody>
        </p:sp>
        <p:sp>
          <p:nvSpPr>
            <p:cNvPr id="93" name="Pentagon 46">
              <a:extLst>
                <a:ext uri="{FF2B5EF4-FFF2-40B4-BE49-F238E27FC236}">
                  <a16:creationId xmlns:a16="http://schemas.microsoft.com/office/drawing/2014/main" id="{A1E2F256-5845-4F38-894D-D9F484CBCE72}"/>
                </a:ext>
              </a:extLst>
            </p:cNvPr>
            <p:cNvSpPr/>
            <p:nvPr/>
          </p:nvSpPr>
          <p:spPr>
            <a:xfrm>
              <a:off x="2165348" y="4965419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8FD4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2.2</a:t>
              </a:r>
            </a:p>
          </p:txBody>
        </p:sp>
        <p:sp>
          <p:nvSpPr>
            <p:cNvPr id="94" name="Pentagon 46">
              <a:extLst>
                <a:ext uri="{FF2B5EF4-FFF2-40B4-BE49-F238E27FC236}">
                  <a16:creationId xmlns:a16="http://schemas.microsoft.com/office/drawing/2014/main" id="{81CE9F6F-757E-40E0-8917-23FE3240D39C}"/>
                </a:ext>
              </a:extLst>
            </p:cNvPr>
            <p:cNvSpPr/>
            <p:nvPr/>
          </p:nvSpPr>
          <p:spPr>
            <a:xfrm>
              <a:off x="2752580" y="5234543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76CB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2.3</a:t>
              </a:r>
            </a:p>
          </p:txBody>
        </p:sp>
        <p:sp>
          <p:nvSpPr>
            <p:cNvPr id="95" name="Pentagon 46">
              <a:extLst>
                <a:ext uri="{FF2B5EF4-FFF2-40B4-BE49-F238E27FC236}">
                  <a16:creationId xmlns:a16="http://schemas.microsoft.com/office/drawing/2014/main" id="{59921C18-2F3E-4413-9F59-69AC026D7298}"/>
                </a:ext>
              </a:extLst>
            </p:cNvPr>
            <p:cNvSpPr/>
            <p:nvPr/>
          </p:nvSpPr>
          <p:spPr>
            <a:xfrm>
              <a:off x="3362887" y="554053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F46A8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2.4</a:t>
              </a:r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0A8A58C3-46F3-4FB4-BB55-898A2901D2A3}"/>
                </a:ext>
              </a:extLst>
            </p:cNvPr>
            <p:cNvCxnSpPr>
              <a:cxnSpLocks/>
            </p:cNvCxnSpPr>
            <p:nvPr/>
          </p:nvCxnSpPr>
          <p:spPr>
            <a:xfrm>
              <a:off x="948160" y="6120023"/>
              <a:ext cx="9715553" cy="25517"/>
            </a:xfrm>
            <a:prstGeom prst="line">
              <a:avLst/>
            </a:prstGeom>
            <a:ln w="19050">
              <a:gradFill>
                <a:gsLst>
                  <a:gs pos="100000">
                    <a:schemeClr val="tx1"/>
                  </a:gs>
                  <a:gs pos="0">
                    <a:schemeClr val="tx1">
                      <a:alpha val="0"/>
                    </a:schemeClr>
                  </a:gs>
                </a:gsLst>
                <a:lin ang="0" scaled="0"/>
              </a:gra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Pentagon 46">
              <a:extLst>
                <a:ext uri="{FF2B5EF4-FFF2-40B4-BE49-F238E27FC236}">
                  <a16:creationId xmlns:a16="http://schemas.microsoft.com/office/drawing/2014/main" id="{C50C38B4-DDCD-4E08-BD64-65306DBF9956}"/>
                </a:ext>
              </a:extLst>
            </p:cNvPr>
            <p:cNvSpPr/>
            <p:nvPr/>
          </p:nvSpPr>
          <p:spPr>
            <a:xfrm>
              <a:off x="4461506" y="466184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EABFF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8.1</a:t>
              </a:r>
            </a:p>
          </p:txBody>
        </p:sp>
        <p:sp>
          <p:nvSpPr>
            <p:cNvPr id="99" name="Richtungspfeil 42">
              <a:extLst>
                <a:ext uri="{FF2B5EF4-FFF2-40B4-BE49-F238E27FC236}">
                  <a16:creationId xmlns:a16="http://schemas.microsoft.com/office/drawing/2014/main" id="{B2CE3FD1-D76E-4BE2-8375-8B7D9FB0973C}"/>
                </a:ext>
              </a:extLst>
            </p:cNvPr>
            <p:cNvSpPr/>
            <p:nvPr/>
          </p:nvSpPr>
          <p:spPr bwMode="gray">
            <a:xfrm rot="21597840">
              <a:off x="318099" y="4069897"/>
              <a:ext cx="4124134" cy="579703"/>
            </a:xfrm>
            <a:prstGeom prst="homePlate">
              <a:avLst>
                <a:gd name="adj" fmla="val 28868"/>
              </a:avLst>
            </a:prstGeom>
            <a:gradFill>
              <a:gsLst>
                <a:gs pos="43000">
                  <a:schemeClr val="accent3">
                    <a:alpha val="0"/>
                  </a:schemeClr>
                </a:gs>
                <a:gs pos="99000">
                  <a:schemeClr val="accent3">
                    <a:alpha val="10000"/>
                  </a:schemeClr>
                </a:gs>
              </a:gsLst>
              <a:lin ang="0" scaled="0"/>
            </a:gradFill>
            <a:ln w="25400" algn="ctr">
              <a:noFill/>
              <a:miter lim="800000"/>
              <a:headEnd/>
              <a:tailEnd/>
            </a:ln>
          </p:spPr>
          <p:txBody>
            <a:bodyPr lIns="89861" tIns="71887" rIns="89861" bIns="71887" rtlCol="0" anchor="ctr"/>
            <a:lstStyle/>
            <a:p>
              <a:pPr algn="ctr" defTabSz="91284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5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0" name="Freeform 102">
              <a:extLst>
                <a:ext uri="{FF2B5EF4-FFF2-40B4-BE49-F238E27FC236}">
                  <a16:creationId xmlns:a16="http://schemas.microsoft.com/office/drawing/2014/main" id="{651B6077-FF23-4975-9FC9-ADBB19A77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4776" y="2204845"/>
              <a:ext cx="1821177" cy="1161168"/>
            </a:xfrm>
            <a:custGeom>
              <a:avLst/>
              <a:gdLst>
                <a:gd name="T0" fmla="*/ 2087 w 10129"/>
                <a:gd name="T1" fmla="*/ 6451 h 6451"/>
                <a:gd name="T2" fmla="*/ 8506 w 10129"/>
                <a:gd name="T3" fmla="*/ 6451 h 6451"/>
                <a:gd name="T4" fmla="*/ 10129 w 10129"/>
                <a:gd name="T5" fmla="*/ 4829 h 6451"/>
                <a:gd name="T6" fmla="*/ 8403 w 10129"/>
                <a:gd name="T7" fmla="*/ 3210 h 6451"/>
                <a:gd name="T8" fmla="*/ 6836 w 10129"/>
                <a:gd name="T9" fmla="*/ 1807 h 6451"/>
                <a:gd name="T10" fmla="*/ 4226 w 10129"/>
                <a:gd name="T11" fmla="*/ 0 h 6451"/>
                <a:gd name="T12" fmla="*/ 1471 w 10129"/>
                <a:gd name="T13" fmla="*/ 2367 h 6451"/>
                <a:gd name="T14" fmla="*/ 0 w 10129"/>
                <a:gd name="T15" fmla="*/ 4362 h 6451"/>
                <a:gd name="T16" fmla="*/ 2087 w 10129"/>
                <a:gd name="T17" fmla="*/ 6451 h 6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29" h="6451">
                  <a:moveTo>
                    <a:pt x="2087" y="6451"/>
                  </a:moveTo>
                  <a:lnTo>
                    <a:pt x="8506" y="6451"/>
                  </a:lnTo>
                  <a:cubicBezTo>
                    <a:pt x="9401" y="6451"/>
                    <a:pt x="10129" y="5723"/>
                    <a:pt x="10129" y="4829"/>
                  </a:cubicBezTo>
                  <a:cubicBezTo>
                    <a:pt x="10129" y="3900"/>
                    <a:pt x="9344" y="3150"/>
                    <a:pt x="8403" y="3210"/>
                  </a:cubicBezTo>
                  <a:cubicBezTo>
                    <a:pt x="8306" y="2422"/>
                    <a:pt x="7641" y="1819"/>
                    <a:pt x="6836" y="1807"/>
                  </a:cubicBezTo>
                  <a:cubicBezTo>
                    <a:pt x="6429" y="723"/>
                    <a:pt x="5391" y="0"/>
                    <a:pt x="4226" y="0"/>
                  </a:cubicBezTo>
                  <a:cubicBezTo>
                    <a:pt x="2847" y="0"/>
                    <a:pt x="1676" y="1012"/>
                    <a:pt x="1471" y="2367"/>
                  </a:cubicBezTo>
                  <a:cubicBezTo>
                    <a:pt x="601" y="2636"/>
                    <a:pt x="0" y="3445"/>
                    <a:pt x="0" y="4362"/>
                  </a:cubicBezTo>
                  <a:cubicBezTo>
                    <a:pt x="0" y="5514"/>
                    <a:pt x="936" y="6451"/>
                    <a:pt x="2087" y="6451"/>
                  </a:cubicBez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1087905">
                <a:defRPr/>
              </a:pPr>
              <a:endParaRPr lang="en-US" sz="1199">
                <a:solidFill>
                  <a:srgbClr val="000000"/>
                </a:solidFill>
              </a:endParaRPr>
            </a:p>
          </p:txBody>
        </p:sp>
        <p:sp>
          <p:nvSpPr>
            <p:cNvPr id="105" name="Freeform 102">
              <a:extLst>
                <a:ext uri="{FF2B5EF4-FFF2-40B4-BE49-F238E27FC236}">
                  <a16:creationId xmlns:a16="http://schemas.microsoft.com/office/drawing/2014/main" id="{D43DFB11-FE6E-4AA2-B5F6-1604235BA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2108" y="2204845"/>
              <a:ext cx="1821177" cy="1161168"/>
            </a:xfrm>
            <a:custGeom>
              <a:avLst/>
              <a:gdLst>
                <a:gd name="T0" fmla="*/ 2087 w 10129"/>
                <a:gd name="T1" fmla="*/ 6451 h 6451"/>
                <a:gd name="T2" fmla="*/ 8506 w 10129"/>
                <a:gd name="T3" fmla="*/ 6451 h 6451"/>
                <a:gd name="T4" fmla="*/ 10129 w 10129"/>
                <a:gd name="T5" fmla="*/ 4829 h 6451"/>
                <a:gd name="T6" fmla="*/ 8403 w 10129"/>
                <a:gd name="T7" fmla="*/ 3210 h 6451"/>
                <a:gd name="T8" fmla="*/ 6836 w 10129"/>
                <a:gd name="T9" fmla="*/ 1807 h 6451"/>
                <a:gd name="T10" fmla="*/ 4226 w 10129"/>
                <a:gd name="T11" fmla="*/ 0 h 6451"/>
                <a:gd name="T12" fmla="*/ 1471 w 10129"/>
                <a:gd name="T13" fmla="*/ 2367 h 6451"/>
                <a:gd name="T14" fmla="*/ 0 w 10129"/>
                <a:gd name="T15" fmla="*/ 4362 h 6451"/>
                <a:gd name="T16" fmla="*/ 2087 w 10129"/>
                <a:gd name="T17" fmla="*/ 6451 h 6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29" h="6451">
                  <a:moveTo>
                    <a:pt x="2087" y="6451"/>
                  </a:moveTo>
                  <a:lnTo>
                    <a:pt x="8506" y="6451"/>
                  </a:lnTo>
                  <a:cubicBezTo>
                    <a:pt x="9401" y="6451"/>
                    <a:pt x="10129" y="5723"/>
                    <a:pt x="10129" y="4829"/>
                  </a:cubicBezTo>
                  <a:cubicBezTo>
                    <a:pt x="10129" y="3900"/>
                    <a:pt x="9344" y="3150"/>
                    <a:pt x="8403" y="3210"/>
                  </a:cubicBezTo>
                  <a:cubicBezTo>
                    <a:pt x="8306" y="2422"/>
                    <a:pt x="7641" y="1819"/>
                    <a:pt x="6836" y="1807"/>
                  </a:cubicBezTo>
                  <a:cubicBezTo>
                    <a:pt x="6429" y="723"/>
                    <a:pt x="5391" y="0"/>
                    <a:pt x="4226" y="0"/>
                  </a:cubicBezTo>
                  <a:cubicBezTo>
                    <a:pt x="2847" y="0"/>
                    <a:pt x="1676" y="1012"/>
                    <a:pt x="1471" y="2367"/>
                  </a:cubicBezTo>
                  <a:cubicBezTo>
                    <a:pt x="601" y="2636"/>
                    <a:pt x="0" y="3445"/>
                    <a:pt x="0" y="4362"/>
                  </a:cubicBezTo>
                  <a:cubicBezTo>
                    <a:pt x="0" y="5514"/>
                    <a:pt x="936" y="6451"/>
                    <a:pt x="2087" y="6451"/>
                  </a:cubicBezTo>
                  <a:close/>
                </a:path>
              </a:pathLst>
            </a:custGeom>
            <a:solidFill>
              <a:schemeClr val="bg1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 defTabSz="1087905">
                <a:defRPr/>
              </a:pPr>
              <a:endParaRPr lang="en-US" sz="1199">
                <a:solidFill>
                  <a:srgbClr val="000000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736A1EA9-DD9D-4500-91DA-BF843F50D664}"/>
                </a:ext>
              </a:extLst>
            </p:cNvPr>
            <p:cNvSpPr txBox="1"/>
            <p:nvPr/>
          </p:nvSpPr>
          <p:spPr>
            <a:xfrm>
              <a:off x="6302685" y="2757102"/>
              <a:ext cx="1476768" cy="61172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 defTabSz="1087905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199" b="1" kern="0">
                  <a:solidFill>
                    <a:srgbClr val="000000"/>
                  </a:solidFill>
                  <a:ea typeface="Arial" pitchFamily="34" charset="-128"/>
                  <a:cs typeface="Arial"/>
                </a:rPr>
                <a:t>SAP S/4HANA Cloud </a:t>
              </a:r>
              <a:r>
                <a:rPr lang="en-US" sz="1199" b="1" kern="0">
                  <a:solidFill>
                    <a:srgbClr val="008FD3"/>
                  </a:solidFill>
                  <a:ea typeface="Arial" pitchFamily="34" charset="-128"/>
                  <a:cs typeface="Arial"/>
                </a:rPr>
                <a:t>2302</a:t>
              </a:r>
              <a:br>
                <a:rPr lang="en-US" sz="1199" b="1" kern="0">
                  <a:solidFill>
                    <a:srgbClr val="000000"/>
                  </a:solidFill>
                  <a:ea typeface="Arial" pitchFamily="34" charset="-128"/>
                  <a:cs typeface="Arial" panose="020B0604020202020204" pitchFamily="34" charset="0"/>
                </a:rPr>
              </a:br>
              <a:endParaRPr lang="en-US" sz="1199" kern="0">
                <a:solidFill>
                  <a:srgbClr val="000000"/>
                </a:solidFill>
                <a:ea typeface="Arial" pitchFamily="34" charset="-128"/>
                <a:cs typeface="Arial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D2193F8-6FFD-4F1E-8ABC-43032716F9F4}"/>
                </a:ext>
              </a:extLst>
            </p:cNvPr>
            <p:cNvSpPr txBox="1"/>
            <p:nvPr/>
          </p:nvSpPr>
          <p:spPr>
            <a:xfrm>
              <a:off x="8997910" y="2736733"/>
              <a:ext cx="1476768" cy="61172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 defTabSz="1087905"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199" b="1" kern="0">
                  <a:solidFill>
                    <a:srgbClr val="000000"/>
                  </a:solidFill>
                  <a:ea typeface="Arial" pitchFamily="34" charset="-128"/>
                  <a:cs typeface="Arial"/>
                </a:rPr>
                <a:t>SAP S/4HANA Cloud </a:t>
              </a:r>
              <a:r>
                <a:rPr lang="en-US" sz="1199" b="1" kern="0">
                  <a:solidFill>
                    <a:srgbClr val="008FD3"/>
                  </a:solidFill>
                  <a:ea typeface="Arial" pitchFamily="34" charset="-128"/>
                  <a:cs typeface="Arial"/>
                </a:rPr>
                <a:t>2308</a:t>
              </a:r>
              <a:br>
                <a:rPr lang="en-US" sz="1199" b="1" kern="0">
                  <a:solidFill>
                    <a:srgbClr val="000000"/>
                  </a:solidFill>
                  <a:ea typeface="Arial" pitchFamily="34" charset="-128"/>
                  <a:cs typeface="Arial" panose="020B0604020202020204" pitchFamily="34" charset="0"/>
                </a:rPr>
              </a:br>
              <a:endParaRPr lang="en-US" sz="1199" kern="0">
                <a:solidFill>
                  <a:srgbClr val="000000"/>
                </a:solidFill>
                <a:ea typeface="Arial" pitchFamily="34" charset="-128"/>
                <a:cs typeface="Arial"/>
              </a:endParaRP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96DE148-4457-4CE8-A2F4-8AA9FDB4231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47915" y="4721590"/>
              <a:ext cx="10507" cy="1371864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12B9D756-511D-470E-BFF2-51D09D602C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24503" y="4447270"/>
              <a:ext cx="615" cy="16689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184B9C8-B58D-4824-8B22-B5E6C7ED66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26143" y="4782550"/>
              <a:ext cx="969" cy="1310904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60F81206-2F4D-4C12-BBCC-DEBC431D9A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18241" y="4508229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Pentagon 46">
              <a:extLst>
                <a:ext uri="{FF2B5EF4-FFF2-40B4-BE49-F238E27FC236}">
                  <a16:creationId xmlns:a16="http://schemas.microsoft.com/office/drawing/2014/main" id="{12F5E511-839C-4C83-B977-7A93D74FB2D4}"/>
                </a:ext>
              </a:extLst>
            </p:cNvPr>
            <p:cNvSpPr/>
            <p:nvPr/>
          </p:nvSpPr>
          <p:spPr>
            <a:xfrm>
              <a:off x="4959673" y="4965419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8FD4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8.2</a:t>
              </a:r>
            </a:p>
          </p:txBody>
        </p:sp>
        <p:sp>
          <p:nvSpPr>
            <p:cNvPr id="113" name="Pentagon 46">
              <a:extLst>
                <a:ext uri="{FF2B5EF4-FFF2-40B4-BE49-F238E27FC236}">
                  <a16:creationId xmlns:a16="http://schemas.microsoft.com/office/drawing/2014/main" id="{A152EEFC-A418-4DA0-B971-D3B6F9009A4E}"/>
                </a:ext>
              </a:extLst>
            </p:cNvPr>
            <p:cNvSpPr/>
            <p:nvPr/>
          </p:nvSpPr>
          <p:spPr>
            <a:xfrm>
              <a:off x="5526426" y="5234543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76CB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8.3</a:t>
              </a:r>
            </a:p>
          </p:txBody>
        </p:sp>
        <p:sp>
          <p:nvSpPr>
            <p:cNvPr id="114" name="Pentagon 46">
              <a:extLst>
                <a:ext uri="{FF2B5EF4-FFF2-40B4-BE49-F238E27FC236}">
                  <a16:creationId xmlns:a16="http://schemas.microsoft.com/office/drawing/2014/main" id="{B6DB0DD9-35CB-498C-8A95-27030253CF8A}"/>
                </a:ext>
              </a:extLst>
            </p:cNvPr>
            <p:cNvSpPr/>
            <p:nvPr/>
          </p:nvSpPr>
          <p:spPr>
            <a:xfrm>
              <a:off x="6024786" y="554053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F46A8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208.4</a:t>
              </a:r>
            </a:p>
          </p:txBody>
        </p: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C06EA45E-7970-4A86-BF76-F6051629CA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16684" y="4406630"/>
              <a:ext cx="0" cy="170958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403BBB04-C913-4CB3-B6D8-04ED21FF7E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33798" y="4406630"/>
              <a:ext cx="0" cy="170958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23C7059A-E74B-43B4-AB30-F8DAB7C557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87371" y="4477749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34702F4B-8158-49A1-9211-0B769AB2F7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29099" y="4447270"/>
              <a:ext cx="14955" cy="16689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464C5769-4FC1-462B-9180-08C5FF29B8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74494" y="4487909"/>
              <a:ext cx="0" cy="1618141"/>
            </a:xfrm>
            <a:prstGeom prst="line">
              <a:avLst/>
            </a:prstGeom>
            <a:ln w="19050" cap="rnd">
              <a:gradFill>
                <a:gsLst>
                  <a:gs pos="0">
                    <a:schemeClr val="tx2"/>
                  </a:gs>
                  <a:gs pos="100000">
                    <a:schemeClr val="tx2">
                      <a:alpha val="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Pentagon 46">
              <a:extLst>
                <a:ext uri="{FF2B5EF4-FFF2-40B4-BE49-F238E27FC236}">
                  <a16:creationId xmlns:a16="http://schemas.microsoft.com/office/drawing/2014/main" id="{728F5BF6-8504-4158-AAB3-461FBB7CA5D6}"/>
                </a:ext>
              </a:extLst>
            </p:cNvPr>
            <p:cNvSpPr/>
            <p:nvPr/>
          </p:nvSpPr>
          <p:spPr>
            <a:xfrm>
              <a:off x="7026079" y="466184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EABFF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302.1</a:t>
              </a:r>
            </a:p>
          </p:txBody>
        </p:sp>
        <p:sp>
          <p:nvSpPr>
            <p:cNvPr id="125" name="Pentagon 46">
              <a:extLst>
                <a:ext uri="{FF2B5EF4-FFF2-40B4-BE49-F238E27FC236}">
                  <a16:creationId xmlns:a16="http://schemas.microsoft.com/office/drawing/2014/main" id="{CA0B529D-7F46-4034-B33F-47BFAC8FEE1A}"/>
                </a:ext>
              </a:extLst>
            </p:cNvPr>
            <p:cNvSpPr/>
            <p:nvPr/>
          </p:nvSpPr>
          <p:spPr>
            <a:xfrm>
              <a:off x="7539713" y="4965419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8FD4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302.2</a:t>
              </a:r>
            </a:p>
          </p:txBody>
        </p:sp>
        <p:sp>
          <p:nvSpPr>
            <p:cNvPr id="126" name="Pentagon 46">
              <a:extLst>
                <a:ext uri="{FF2B5EF4-FFF2-40B4-BE49-F238E27FC236}">
                  <a16:creationId xmlns:a16="http://schemas.microsoft.com/office/drawing/2014/main" id="{2C01C718-9924-401D-A07F-043B307645A4}"/>
                </a:ext>
              </a:extLst>
            </p:cNvPr>
            <p:cNvSpPr/>
            <p:nvPr/>
          </p:nvSpPr>
          <p:spPr>
            <a:xfrm>
              <a:off x="8091985" y="5234543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076CB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302.3</a:t>
              </a:r>
            </a:p>
          </p:txBody>
        </p:sp>
        <p:sp>
          <p:nvSpPr>
            <p:cNvPr id="127" name="Pentagon 46">
              <a:extLst>
                <a:ext uri="{FF2B5EF4-FFF2-40B4-BE49-F238E27FC236}">
                  <a16:creationId xmlns:a16="http://schemas.microsoft.com/office/drawing/2014/main" id="{5E5DF765-4A6F-4477-9E4C-20F7039137A9}"/>
                </a:ext>
              </a:extLst>
            </p:cNvPr>
            <p:cNvSpPr/>
            <p:nvPr/>
          </p:nvSpPr>
          <p:spPr>
            <a:xfrm>
              <a:off x="8644372" y="5540536"/>
              <a:ext cx="599435" cy="283570"/>
            </a:xfrm>
            <a:prstGeom prst="roundRect">
              <a:avLst>
                <a:gd name="adj" fmla="val 166667"/>
              </a:avLst>
            </a:prstGeom>
            <a:solidFill>
              <a:srgbClr val="0F46A8"/>
            </a:solidFill>
            <a:ln w="127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80320" tIns="40161" rIns="80320" bIns="401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300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1099" b="1">
                  <a:solidFill>
                    <a:srgbClr val="FFFFFF"/>
                  </a:solidFill>
                  <a:latin typeface="Arial"/>
                </a:rPr>
                <a:t>2302.4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3952DE1D-E1A5-4E11-AA47-E6558213B5C9}"/>
                </a:ext>
              </a:extLst>
            </p:cNvPr>
            <p:cNvSpPr txBox="1"/>
            <p:nvPr/>
          </p:nvSpPr>
          <p:spPr>
            <a:xfrm>
              <a:off x="1665121" y="1857412"/>
              <a:ext cx="474495" cy="1783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49" b="1" kern="0">
                  <a:solidFill>
                    <a:srgbClr val="000000"/>
                  </a:solidFill>
                  <a:ea typeface="Arial Unicode MS" pitchFamily="34" charset="-128"/>
                </a:rPr>
                <a:t>Release</a:t>
              </a:r>
              <a:endParaRPr lang="en-DE" sz="1049" b="1" kern="0" err="1">
                <a:solidFill>
                  <a:srgbClr val="000000"/>
                </a:solidFill>
                <a:ea typeface="Arial Unicode MS" pitchFamily="34" charset="-128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15333C81-54E8-4D80-9523-0A4202E9E38F}"/>
                </a:ext>
              </a:extLst>
            </p:cNvPr>
            <p:cNvSpPr txBox="1"/>
            <p:nvPr/>
          </p:nvSpPr>
          <p:spPr>
            <a:xfrm>
              <a:off x="4064396" y="1857412"/>
              <a:ext cx="474495" cy="1783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49" b="1" kern="0">
                  <a:solidFill>
                    <a:srgbClr val="000000"/>
                  </a:solidFill>
                  <a:ea typeface="Arial Unicode MS" pitchFamily="34" charset="-128"/>
                </a:rPr>
                <a:t>Release</a:t>
              </a:r>
              <a:endParaRPr lang="en-DE" sz="1049" b="1" kern="0" err="1">
                <a:solidFill>
                  <a:srgbClr val="000000"/>
                </a:solidFill>
                <a:ea typeface="Arial Unicode MS" pitchFamily="34" charset="-128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0C651F8-09A0-488A-B4EA-60A359BA209F}"/>
                </a:ext>
              </a:extLst>
            </p:cNvPr>
            <p:cNvSpPr txBox="1"/>
            <p:nvPr/>
          </p:nvSpPr>
          <p:spPr>
            <a:xfrm>
              <a:off x="6657945" y="1857412"/>
              <a:ext cx="474495" cy="1783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49" b="1" kern="0">
                  <a:solidFill>
                    <a:srgbClr val="000000"/>
                  </a:solidFill>
                  <a:ea typeface="Arial Unicode MS" pitchFamily="34" charset="-128"/>
                </a:rPr>
                <a:t>Release</a:t>
              </a:r>
              <a:endParaRPr lang="en-DE" sz="1049" b="1" kern="0" err="1">
                <a:solidFill>
                  <a:srgbClr val="000000"/>
                </a:solidFill>
                <a:ea typeface="Arial Unicode MS" pitchFamily="34" charset="-128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C238271-6405-4733-B3D9-F865A1F6D4E6}"/>
                </a:ext>
              </a:extLst>
            </p:cNvPr>
            <p:cNvSpPr txBox="1"/>
            <p:nvPr/>
          </p:nvSpPr>
          <p:spPr>
            <a:xfrm>
              <a:off x="9449331" y="1857412"/>
              <a:ext cx="474495" cy="17832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49" b="1" kern="0">
                  <a:solidFill>
                    <a:srgbClr val="000000"/>
                  </a:solidFill>
                  <a:ea typeface="Arial Unicode MS" pitchFamily="34" charset="-128"/>
                </a:rPr>
                <a:t>Release</a:t>
              </a:r>
              <a:endParaRPr lang="en-DE" sz="1049" b="1" kern="0" err="1">
                <a:solidFill>
                  <a:srgbClr val="000000"/>
                </a:solidFill>
                <a:ea typeface="Arial Unicode MS" pitchFamily="34" charset="-128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572B421B-8C32-4462-8A30-F0BE07B37D27}"/>
                </a:ext>
              </a:extLst>
            </p:cNvPr>
            <p:cNvSpPr txBox="1"/>
            <p:nvPr/>
          </p:nvSpPr>
          <p:spPr>
            <a:xfrm>
              <a:off x="864540" y="4270995"/>
              <a:ext cx="1464876" cy="18691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99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Feb 2022</a:t>
              </a:r>
              <a:endParaRPr lang="en-US" sz="10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2E9A3784-679A-4829-BF83-60CB94B7A086}"/>
                </a:ext>
              </a:extLst>
            </p:cNvPr>
            <p:cNvSpPr txBox="1"/>
            <p:nvPr/>
          </p:nvSpPr>
          <p:spPr>
            <a:xfrm>
              <a:off x="3182486" y="4270995"/>
              <a:ext cx="1464876" cy="18691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99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g 2022</a:t>
              </a:r>
            </a:p>
          </p:txBody>
        </p:sp>
        <p:sp>
          <p:nvSpPr>
            <p:cNvPr id="142" name="Richtungspfeil 42">
              <a:extLst>
                <a:ext uri="{FF2B5EF4-FFF2-40B4-BE49-F238E27FC236}">
                  <a16:creationId xmlns:a16="http://schemas.microsoft.com/office/drawing/2014/main" id="{BD05A820-639C-4569-8906-60E0D9814855}"/>
                </a:ext>
              </a:extLst>
            </p:cNvPr>
            <p:cNvSpPr/>
            <p:nvPr/>
          </p:nvSpPr>
          <p:spPr bwMode="gray">
            <a:xfrm rot="21597840">
              <a:off x="2114848" y="4071039"/>
              <a:ext cx="4901566" cy="579703"/>
            </a:xfrm>
            <a:prstGeom prst="homePlate">
              <a:avLst>
                <a:gd name="adj" fmla="val 28868"/>
              </a:avLst>
            </a:prstGeom>
            <a:gradFill>
              <a:gsLst>
                <a:gs pos="43000">
                  <a:schemeClr val="accent3">
                    <a:alpha val="0"/>
                  </a:schemeClr>
                </a:gs>
                <a:gs pos="99000">
                  <a:schemeClr val="accent3">
                    <a:alpha val="10000"/>
                  </a:schemeClr>
                </a:gs>
              </a:gsLst>
              <a:lin ang="0" scaled="0"/>
            </a:gradFill>
            <a:ln w="25400" algn="ctr">
              <a:noFill/>
              <a:miter lim="800000"/>
              <a:headEnd/>
              <a:tailEnd/>
            </a:ln>
          </p:spPr>
          <p:txBody>
            <a:bodyPr lIns="89861" tIns="71887" rIns="89861" bIns="71887" rtlCol="0" anchor="ctr"/>
            <a:lstStyle/>
            <a:p>
              <a:pPr algn="ctr" defTabSz="91284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5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3" name="Richtungspfeil 42">
              <a:extLst>
                <a:ext uri="{FF2B5EF4-FFF2-40B4-BE49-F238E27FC236}">
                  <a16:creationId xmlns:a16="http://schemas.microsoft.com/office/drawing/2014/main" id="{C070513F-C148-4887-ABF3-A9F5C4D0185C}"/>
                </a:ext>
              </a:extLst>
            </p:cNvPr>
            <p:cNvSpPr/>
            <p:nvPr/>
          </p:nvSpPr>
          <p:spPr bwMode="gray">
            <a:xfrm rot="21597840">
              <a:off x="5997579" y="4078480"/>
              <a:ext cx="5260478" cy="572148"/>
            </a:xfrm>
            <a:prstGeom prst="homePlate">
              <a:avLst>
                <a:gd name="adj" fmla="val 28868"/>
              </a:avLst>
            </a:prstGeom>
            <a:gradFill>
              <a:gsLst>
                <a:gs pos="43000">
                  <a:schemeClr val="accent3">
                    <a:alpha val="0"/>
                  </a:schemeClr>
                </a:gs>
                <a:gs pos="99000">
                  <a:schemeClr val="accent3">
                    <a:alpha val="10000"/>
                  </a:schemeClr>
                </a:gs>
              </a:gsLst>
              <a:lin ang="0" scaled="0"/>
            </a:gradFill>
            <a:ln w="25400" algn="ctr">
              <a:noFill/>
              <a:miter lim="800000"/>
              <a:headEnd/>
              <a:tailEnd/>
            </a:ln>
          </p:spPr>
          <p:txBody>
            <a:bodyPr lIns="89861" tIns="71887" rIns="89861" bIns="71887" rtlCol="0" anchor="ctr"/>
            <a:lstStyle/>
            <a:p>
              <a:pPr algn="ctr" defTabSz="91284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0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4" name="Richtungspfeil 42">
              <a:extLst>
                <a:ext uri="{FF2B5EF4-FFF2-40B4-BE49-F238E27FC236}">
                  <a16:creationId xmlns:a16="http://schemas.microsoft.com/office/drawing/2014/main" id="{4D148E4A-3B43-48D3-BD64-A25E32087F0B}"/>
                </a:ext>
              </a:extLst>
            </p:cNvPr>
            <p:cNvSpPr/>
            <p:nvPr/>
          </p:nvSpPr>
          <p:spPr bwMode="gray">
            <a:xfrm rot="21597840">
              <a:off x="3699999" y="4070686"/>
              <a:ext cx="6023544" cy="579703"/>
            </a:xfrm>
            <a:prstGeom prst="homePlate">
              <a:avLst>
                <a:gd name="adj" fmla="val 28868"/>
              </a:avLst>
            </a:prstGeom>
            <a:gradFill>
              <a:gsLst>
                <a:gs pos="43000">
                  <a:schemeClr val="accent3">
                    <a:alpha val="0"/>
                  </a:schemeClr>
                </a:gs>
                <a:gs pos="99000">
                  <a:schemeClr val="accent3">
                    <a:alpha val="10000"/>
                  </a:schemeClr>
                </a:gs>
              </a:gsLst>
              <a:lin ang="0" scaled="0"/>
            </a:gradFill>
            <a:ln w="25400" algn="ctr">
              <a:noFill/>
              <a:miter lim="800000"/>
              <a:headEnd/>
              <a:tailEnd/>
            </a:ln>
          </p:spPr>
          <p:txBody>
            <a:bodyPr lIns="89861" tIns="71887" rIns="89861" bIns="71887" rtlCol="0" anchor="ctr"/>
            <a:lstStyle/>
            <a:p>
              <a:pPr algn="ctr" defTabSz="91284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0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D97ABBB-821A-4CFB-B189-E4E66E8D18ED}"/>
                </a:ext>
              </a:extLst>
            </p:cNvPr>
            <p:cNvSpPr txBox="1"/>
            <p:nvPr/>
          </p:nvSpPr>
          <p:spPr>
            <a:xfrm>
              <a:off x="5906044" y="4225569"/>
              <a:ext cx="1209305" cy="28887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912847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de-DE" sz="1099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Feb 2023</a:t>
              </a:r>
              <a:endParaRPr lang="de-DE" sz="10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46A4B754-EF66-4902-9230-0ED590428470}"/>
                </a:ext>
              </a:extLst>
            </p:cNvPr>
            <p:cNvGrpSpPr/>
            <p:nvPr/>
          </p:nvGrpSpPr>
          <p:grpSpPr>
            <a:xfrm>
              <a:off x="4404726" y="3364292"/>
              <a:ext cx="124380" cy="899709"/>
              <a:chOff x="1262286" y="2281574"/>
              <a:chExt cx="124380" cy="995169"/>
            </a:xfrm>
          </p:grpSpPr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895FA83F-EF0E-48F3-B5EF-5BA069E4F2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1850" y="2281574"/>
                <a:ext cx="0" cy="881351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8" name="Ellipse 55">
                <a:extLst>
                  <a:ext uri="{FF2B5EF4-FFF2-40B4-BE49-F238E27FC236}">
                    <a16:creationId xmlns:a16="http://schemas.microsoft.com/office/drawing/2014/main" id="{4611FD1A-E46F-4E87-B9C0-000B30A79FC8}"/>
                  </a:ext>
                </a:extLst>
              </p:cNvPr>
              <p:cNvSpPr/>
              <p:nvPr/>
            </p:nvSpPr>
            <p:spPr bwMode="gray">
              <a:xfrm>
                <a:off x="1262286" y="3152363"/>
                <a:ext cx="124380" cy="124380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861" tIns="71887" rIns="89861" bIns="71887" rtlCol="0" anchor="ctr"/>
              <a:lstStyle/>
              <a:p>
                <a:pPr algn="ctr" defTabSz="912847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5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7ABC49C0-BF22-44F8-87EC-9C6D6C0A177D}"/>
                </a:ext>
              </a:extLst>
            </p:cNvPr>
            <p:cNvGrpSpPr/>
            <p:nvPr/>
          </p:nvGrpSpPr>
          <p:grpSpPr>
            <a:xfrm>
              <a:off x="6984095" y="3371286"/>
              <a:ext cx="124380" cy="899709"/>
              <a:chOff x="1262286" y="2281574"/>
              <a:chExt cx="124380" cy="995169"/>
            </a:xfrm>
          </p:grpSpPr>
          <p:cxnSp>
            <p:nvCxnSpPr>
              <p:cNvPr id="155" name="Straight Connector 154">
                <a:extLst>
                  <a:ext uri="{FF2B5EF4-FFF2-40B4-BE49-F238E27FC236}">
                    <a16:creationId xmlns:a16="http://schemas.microsoft.com/office/drawing/2014/main" id="{65880C6D-2328-473B-934D-FC1DA21CD4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1850" y="2281574"/>
                <a:ext cx="0" cy="881351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6" name="Ellipse 55">
                <a:extLst>
                  <a:ext uri="{FF2B5EF4-FFF2-40B4-BE49-F238E27FC236}">
                    <a16:creationId xmlns:a16="http://schemas.microsoft.com/office/drawing/2014/main" id="{E2C26C61-3BC9-4496-B607-5A6A93A75CEA}"/>
                  </a:ext>
                </a:extLst>
              </p:cNvPr>
              <p:cNvSpPr/>
              <p:nvPr/>
            </p:nvSpPr>
            <p:spPr bwMode="gray">
              <a:xfrm>
                <a:off x="1262286" y="3152363"/>
                <a:ext cx="124380" cy="124380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861" tIns="71887" rIns="89861" bIns="71887" rtlCol="0" anchor="ctr"/>
              <a:lstStyle/>
              <a:p>
                <a:pPr algn="ctr" defTabSz="912847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5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549FA0FC-0F10-471E-A532-5658F374583A}"/>
                </a:ext>
              </a:extLst>
            </p:cNvPr>
            <p:cNvGrpSpPr/>
            <p:nvPr/>
          </p:nvGrpSpPr>
          <p:grpSpPr>
            <a:xfrm>
              <a:off x="9686579" y="3364292"/>
              <a:ext cx="124380" cy="899709"/>
              <a:chOff x="1262286" y="2281574"/>
              <a:chExt cx="124380" cy="995169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83A2DFBA-7097-4297-A017-A04A8AC7271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1850" y="2281574"/>
                <a:ext cx="0" cy="881351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Ellipse 55">
                <a:extLst>
                  <a:ext uri="{FF2B5EF4-FFF2-40B4-BE49-F238E27FC236}">
                    <a16:creationId xmlns:a16="http://schemas.microsoft.com/office/drawing/2014/main" id="{AFEDB1C0-7204-4C71-B9C2-CA9758FB64AC}"/>
                  </a:ext>
                </a:extLst>
              </p:cNvPr>
              <p:cNvSpPr/>
              <p:nvPr/>
            </p:nvSpPr>
            <p:spPr bwMode="gray">
              <a:xfrm>
                <a:off x="1262286" y="3152363"/>
                <a:ext cx="124380" cy="124380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861" tIns="71887" rIns="89861" bIns="71887" rtlCol="0" anchor="ctr"/>
              <a:lstStyle/>
              <a:p>
                <a:pPr algn="ctr" defTabSz="912847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5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A0EC465D-2ABD-4693-8BED-FBCFD389AC80}"/>
                </a:ext>
              </a:extLst>
            </p:cNvPr>
            <p:cNvGrpSpPr/>
            <p:nvPr/>
          </p:nvGrpSpPr>
          <p:grpSpPr>
            <a:xfrm>
              <a:off x="1991419" y="3361722"/>
              <a:ext cx="124380" cy="899709"/>
              <a:chOff x="1262286" y="2281574"/>
              <a:chExt cx="124380" cy="995169"/>
            </a:xfrm>
          </p:grpSpPr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C03E2596-0A1A-48D5-A15A-013B1B94D87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1850" y="2281574"/>
                <a:ext cx="0" cy="881351"/>
              </a:xfrm>
              <a:prstGeom prst="line">
                <a:avLst/>
              </a:prstGeom>
              <a:ln w="1270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2" name="Ellipse 55">
                <a:extLst>
                  <a:ext uri="{FF2B5EF4-FFF2-40B4-BE49-F238E27FC236}">
                    <a16:creationId xmlns:a16="http://schemas.microsoft.com/office/drawing/2014/main" id="{BD9C2DC4-F836-4779-9EF1-00B4571BE65E}"/>
                  </a:ext>
                </a:extLst>
              </p:cNvPr>
              <p:cNvSpPr/>
              <p:nvPr/>
            </p:nvSpPr>
            <p:spPr bwMode="gray">
              <a:xfrm>
                <a:off x="1262286" y="3152363"/>
                <a:ext cx="124380" cy="124380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861" tIns="71887" rIns="89861" bIns="71887" rtlCol="0" anchor="ctr"/>
              <a:lstStyle/>
              <a:p>
                <a:pPr algn="ctr" defTabSz="912847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5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25502F23-219D-425C-94B1-EE0E13397EE2}"/>
                </a:ext>
              </a:extLst>
            </p:cNvPr>
            <p:cNvSpPr txBox="1"/>
            <p:nvPr/>
          </p:nvSpPr>
          <p:spPr>
            <a:xfrm>
              <a:off x="8565621" y="4261014"/>
              <a:ext cx="1342771" cy="18691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 defTabSz="108790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99" b="1" kern="0">
                  <a:solidFill>
                    <a:srgbClr val="000000"/>
                  </a:solidFill>
                  <a:ea typeface="Arial Unicode MS"/>
                  <a:cs typeface="Arial Unicode MS"/>
                </a:rPr>
                <a:t>Aug 2023</a:t>
              </a:r>
              <a:endParaRPr lang="en-US" sz="10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67" name="TextBox 166">
            <a:extLst>
              <a:ext uri="{FF2B5EF4-FFF2-40B4-BE49-F238E27FC236}">
                <a16:creationId xmlns:a16="http://schemas.microsoft.com/office/drawing/2014/main" id="{3A24290F-A8D3-4D9E-908B-1DABD779449F}"/>
              </a:ext>
            </a:extLst>
          </p:cNvPr>
          <p:cNvSpPr txBox="1"/>
          <p:nvPr/>
        </p:nvSpPr>
        <p:spPr>
          <a:xfrm>
            <a:off x="505327" y="726610"/>
            <a:ext cx="10731433" cy="4920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7687">
              <a:spcBef>
                <a:spcPct val="0"/>
              </a:spcBef>
              <a:defRPr/>
            </a:pPr>
            <a:r>
              <a:rPr lang="en-US" sz="1599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ystems </a:t>
            </a:r>
            <a:r>
              <a:rPr lang="en-US" sz="1599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“continuously upgraded” </a:t>
            </a:r>
            <a:r>
              <a:rPr lang="en-US" sz="1599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nd </a:t>
            </a:r>
            <a:r>
              <a:rPr lang="en-US" sz="1599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lways on latest and greatest</a:t>
            </a:r>
            <a:r>
              <a:rPr lang="en-US" sz="1599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, eliminating major upgrade projects and allowing fast and cost effective adoption of new innovation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428116-B6F6-C014-A86C-D6FE796F06AA}"/>
              </a:ext>
            </a:extLst>
          </p:cNvPr>
          <p:cNvSpPr/>
          <p:nvPr/>
        </p:nvSpPr>
        <p:spPr>
          <a:xfrm>
            <a:off x="8650418" y="1218669"/>
            <a:ext cx="2409231" cy="1912352"/>
          </a:xfrm>
          <a:prstGeom prst="rect">
            <a:avLst/>
          </a:prstGeom>
          <a:noFill/>
          <a:ln w="28575">
            <a:solidFill>
              <a:srgbClr val="EA94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8EE17C31-2462-BDB4-C582-E751C6A17422}"/>
              </a:ext>
            </a:extLst>
          </p:cNvPr>
          <p:cNvSpPr/>
          <p:nvPr/>
        </p:nvSpPr>
        <p:spPr>
          <a:xfrm>
            <a:off x="11163176" y="515018"/>
            <a:ext cx="958094" cy="1371956"/>
          </a:xfrm>
          <a:prstGeom prst="wedgeRoundRectCallout">
            <a:avLst>
              <a:gd name="adj1" fmla="val -209460"/>
              <a:gd name="adj2" fmla="val 136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release as of Aug 2023</a:t>
            </a:r>
          </a:p>
        </p:txBody>
      </p:sp>
    </p:spTree>
    <p:extLst>
      <p:ext uri="{BB962C8B-B14F-4D97-AF65-F5344CB8AC3E}">
        <p14:creationId xmlns:p14="http://schemas.microsoft.com/office/powerpoint/2010/main" val="2629129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1FBC49-70A4-4DC3-9FA7-B9E9AE081DA6}"/>
              </a:ext>
            </a:extLst>
          </p:cNvPr>
          <p:cNvSpPr/>
          <p:nvPr/>
        </p:nvSpPr>
        <p:spPr>
          <a:xfrm>
            <a:off x="442661" y="780443"/>
            <a:ext cx="32014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n any device, use </a:t>
            </a:r>
            <a:b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ole based cockpits </a:t>
            </a:r>
            <a:b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ith digital assista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31E4AA-6E5F-4769-8A7D-A286368D27BC}"/>
              </a:ext>
            </a:extLst>
          </p:cNvPr>
          <p:cNvSpPr/>
          <p:nvPr/>
        </p:nvSpPr>
        <p:spPr>
          <a:xfrm>
            <a:off x="4732925" y="780444"/>
            <a:ext cx="27254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mbedded analytics for simulation, prediction &amp; insight-to-ac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C3FD62-4B13-49A3-8087-D2E2CFE02E23}"/>
              </a:ext>
            </a:extLst>
          </p:cNvPr>
          <p:cNvSpPr/>
          <p:nvPr/>
        </p:nvSpPr>
        <p:spPr>
          <a:xfrm>
            <a:off x="8646971" y="780443"/>
            <a:ext cx="31023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achine learning for automated processing &amp; decision support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54C01D-E546-4028-9563-4D24A17426AC}"/>
              </a:ext>
            </a:extLst>
          </p:cNvPr>
          <p:cNvSpPr/>
          <p:nvPr/>
        </p:nvSpPr>
        <p:spPr bwMode="gray">
          <a:xfrm>
            <a:off x="10304264" y="7319837"/>
            <a:ext cx="2168813" cy="21041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89953" tIns="71963" rIns="89953" bIns="7196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/>
              <a:t>Monitor GR/IR account with 360° cockpit</a:t>
            </a:r>
          </a:p>
          <a:p>
            <a:pPr algn="ctr" defTabSz="9138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900" kern="0">
              <a:solidFill>
                <a:srgbClr val="000000"/>
              </a:solidFill>
              <a:ea typeface="Arial" pitchFamily="34" charset="-128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C576893-EF30-48CF-88DF-23AD87C42A53}"/>
              </a:ext>
            </a:extLst>
          </p:cNvPr>
          <p:cNvGrpSpPr/>
          <p:nvPr/>
        </p:nvGrpSpPr>
        <p:grpSpPr>
          <a:xfrm>
            <a:off x="4667520" y="1910905"/>
            <a:ext cx="3482641" cy="3119480"/>
            <a:chOff x="4668734" y="2766243"/>
            <a:chExt cx="3483548" cy="3120293"/>
          </a:xfrm>
        </p:grpSpPr>
        <p:pic>
          <p:nvPicPr>
            <p:cNvPr id="6" name="Picture 5">
              <a:hlinkClick r:id="rId3"/>
              <a:extLst>
                <a:ext uri="{FF2B5EF4-FFF2-40B4-BE49-F238E27FC236}">
                  <a16:creationId xmlns:a16="http://schemas.microsoft.com/office/drawing/2014/main" id="{FF7AA130-BBF9-40FD-BC54-1EBC29552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68734" y="2766243"/>
              <a:ext cx="3154563" cy="1774442"/>
            </a:xfrm>
            <a:prstGeom prst="rect">
              <a:avLst/>
            </a:prstGeom>
            <a:ln w="12700">
              <a:solidFill>
                <a:schemeClr val="accent2"/>
              </a:solidFill>
            </a:ln>
            <a:effectLst/>
          </p:spPr>
        </p:pic>
        <p:pic>
          <p:nvPicPr>
            <p:cNvPr id="8" name="Picture 7">
              <a:hlinkClick r:id="rId3"/>
              <a:extLst>
                <a:ext uri="{FF2B5EF4-FFF2-40B4-BE49-F238E27FC236}">
                  <a16:creationId xmlns:a16="http://schemas.microsoft.com/office/drawing/2014/main" id="{F5042145-5B1B-445E-BD2E-69B2F46B33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21093" y="4350242"/>
              <a:ext cx="2731189" cy="1536294"/>
            </a:xfrm>
            <a:prstGeom prst="rect">
              <a:avLst/>
            </a:prstGeom>
            <a:ln w="12700">
              <a:solidFill>
                <a:schemeClr val="accent2"/>
              </a:solidFill>
            </a:ln>
            <a:effectLst/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4B1FAFC-7A0B-4403-9DA5-191DE7E167DB}"/>
              </a:ext>
            </a:extLst>
          </p:cNvPr>
          <p:cNvGrpSpPr/>
          <p:nvPr/>
        </p:nvGrpSpPr>
        <p:grpSpPr>
          <a:xfrm>
            <a:off x="8540015" y="1927357"/>
            <a:ext cx="3190296" cy="3130063"/>
            <a:chOff x="8542237" y="2782699"/>
            <a:chExt cx="3191127" cy="3130878"/>
          </a:xfrm>
          <a:effectLst/>
        </p:grpSpPr>
        <p:pic>
          <p:nvPicPr>
            <p:cNvPr id="28" name="Picture 27">
              <a:hlinkClick r:id="rId6"/>
              <a:extLst>
                <a:ext uri="{FF2B5EF4-FFF2-40B4-BE49-F238E27FC236}">
                  <a16:creationId xmlns:a16="http://schemas.microsoft.com/office/drawing/2014/main" id="{A40CC9B7-6776-417A-9D58-265F37BE04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42237" y="2782699"/>
              <a:ext cx="3103177" cy="1745536"/>
            </a:xfrm>
            <a:prstGeom prst="rect">
              <a:avLst/>
            </a:prstGeom>
            <a:ln w="12700">
              <a:solidFill>
                <a:schemeClr val="accent2"/>
              </a:solidFill>
            </a:ln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2162753-852E-47C8-AB52-2FEF9A558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77221" y="4211005"/>
              <a:ext cx="856143" cy="1702572"/>
            </a:xfrm>
            <a:prstGeom prst="rect">
              <a:avLst/>
            </a:prstGeom>
            <a:effectLst/>
          </p:spPr>
        </p:pic>
        <p:pic>
          <p:nvPicPr>
            <p:cNvPr id="15" name="Picture 14">
              <a:hlinkClick r:id="rId6"/>
              <a:extLst>
                <a:ext uri="{FF2B5EF4-FFF2-40B4-BE49-F238E27FC236}">
                  <a16:creationId xmlns:a16="http://schemas.microsoft.com/office/drawing/2014/main" id="{9CA65233-1878-437C-B8E1-AA9D8116B19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909738" y="4401787"/>
              <a:ext cx="790485" cy="1363727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7860E42-EE6F-47CA-84AD-8AAA6C864052}"/>
              </a:ext>
            </a:extLst>
          </p:cNvPr>
          <p:cNvGrpSpPr/>
          <p:nvPr/>
        </p:nvGrpSpPr>
        <p:grpSpPr>
          <a:xfrm>
            <a:off x="498830" y="1910904"/>
            <a:ext cx="3838228" cy="3083381"/>
            <a:chOff x="498958" y="2766243"/>
            <a:chExt cx="3839227" cy="3084184"/>
          </a:xfrm>
          <a:effectLst/>
        </p:grpSpPr>
        <p:pic>
          <p:nvPicPr>
            <p:cNvPr id="26" name="Picture 2" descr="https://www.sapanalytics.cloud/wp-content/themes/sap/images/home-hero.png">
              <a:extLst>
                <a:ext uri="{FF2B5EF4-FFF2-40B4-BE49-F238E27FC236}">
                  <a16:creationId xmlns:a16="http://schemas.microsoft.com/office/drawing/2014/main" id="{4832405E-2311-4F78-B052-D4A55B68D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958" y="2766243"/>
              <a:ext cx="3839227" cy="21585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hlinkClick r:id="rId11"/>
              <a:extLst>
                <a:ext uri="{FF2B5EF4-FFF2-40B4-BE49-F238E27FC236}">
                  <a16:creationId xmlns:a16="http://schemas.microsoft.com/office/drawing/2014/main" id="{7218C9E4-D9FC-4F43-8FB3-C9FF45143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93062" y="2878899"/>
              <a:ext cx="2864233" cy="157655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E6BA4AD8-3FE6-40BE-8973-0AF8CD4F1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21191" y="4061209"/>
              <a:ext cx="856143" cy="1789218"/>
            </a:xfrm>
            <a:prstGeom prst="rect">
              <a:avLst/>
            </a:prstGeom>
            <a:effectLst/>
          </p:spPr>
        </p:pic>
        <p:pic>
          <p:nvPicPr>
            <p:cNvPr id="17" name="Picture 16">
              <a:hlinkClick r:id="rId11"/>
              <a:extLst>
                <a:ext uri="{FF2B5EF4-FFF2-40B4-BE49-F238E27FC236}">
                  <a16:creationId xmlns:a16="http://schemas.microsoft.com/office/drawing/2014/main" id="{DDCA3863-E287-41C2-8574-F236A4BAF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458245" y="4261007"/>
              <a:ext cx="782033" cy="1408283"/>
            </a:xfrm>
            <a:prstGeom prst="rect">
              <a:avLst/>
            </a:prstGeom>
          </p:spPr>
        </p:pic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363541FF-E2B0-49D6-8D81-28843C1FB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07" y="1"/>
            <a:ext cx="11183564" cy="676932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rld-class UX with SAP Fiori</a:t>
            </a:r>
          </a:p>
        </p:txBody>
      </p:sp>
    </p:spTree>
    <p:extLst>
      <p:ext uri="{BB962C8B-B14F-4D97-AF65-F5344CB8AC3E}">
        <p14:creationId xmlns:p14="http://schemas.microsoft.com/office/powerpoint/2010/main" val="126844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:a16="http://schemas.microsoft.com/office/drawing/2014/main" id="{2974C1AA-021D-2446-8604-32912DFC46ED}"/>
              </a:ext>
            </a:extLst>
          </p:cNvPr>
          <p:cNvGrpSpPr/>
          <p:nvPr/>
        </p:nvGrpSpPr>
        <p:grpSpPr>
          <a:xfrm>
            <a:off x="4104041" y="2028398"/>
            <a:ext cx="3988185" cy="2302772"/>
            <a:chOff x="3787858" y="2638350"/>
            <a:chExt cx="4613795" cy="2664000"/>
          </a:xfrm>
          <a:effectLst>
            <a:reflection blurRad="6350" stA="55000" endPos="20000" dir="5400000" sy="-100000" algn="bl" rotWithShape="0"/>
          </a:effectLst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B590CF81-FA6D-4F45-A528-41445E0FB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297050" y="2771588"/>
              <a:ext cx="3627380" cy="2040866"/>
            </a:xfrm>
            <a:prstGeom prst="rect">
              <a:avLst/>
            </a:prstGeom>
          </p:spPr>
        </p:pic>
        <p:pic>
          <p:nvPicPr>
            <p:cNvPr id="23" name="Picture 2">
              <a:extLst>
                <a:ext uri="{FF2B5EF4-FFF2-40B4-BE49-F238E27FC236}">
                  <a16:creationId xmlns:a16="http://schemas.microsoft.com/office/drawing/2014/main" id="{5BB024D8-D065-6941-91AE-9C423DFF89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7858" y="2638350"/>
              <a:ext cx="4613795" cy="2664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1662BD-27B6-194B-B707-84A5B748CE1C}"/>
              </a:ext>
            </a:extLst>
          </p:cNvPr>
          <p:cNvGrpSpPr/>
          <p:nvPr/>
        </p:nvGrpSpPr>
        <p:grpSpPr>
          <a:xfrm>
            <a:off x="503107" y="1135589"/>
            <a:ext cx="3342568" cy="683131"/>
            <a:chOff x="550378" y="1925622"/>
            <a:chExt cx="3343438" cy="683309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211879AF-B58A-8D4B-A9C0-CC2F3C06670B}"/>
                </a:ext>
              </a:extLst>
            </p:cNvPr>
            <p:cNvSpPr txBox="1">
              <a:spLocks/>
            </p:cNvSpPr>
            <p:nvPr/>
          </p:nvSpPr>
          <p:spPr bwMode="black">
            <a:xfrm>
              <a:off x="550378" y="1925622"/>
              <a:ext cx="334343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1088558" rtl="0" eaLnBrk="1" latinLnBrk="0" hangingPunct="1">
                <a:spcBef>
                  <a:spcPct val="0"/>
                </a:spcBef>
                <a:buNone/>
                <a:defRPr sz="2400" b="1" kern="120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799">
                  <a:gradFill flip="none" rotWithShape="1">
                    <a:gsLst>
                      <a:gs pos="0">
                        <a:schemeClr val="accent3">
                          <a:lumMod val="75000"/>
                        </a:schemeClr>
                      </a:gs>
                      <a:gs pos="100000">
                        <a:schemeClr val="accent3"/>
                      </a:gs>
                    </a:gsLst>
                    <a:lin ang="0" scaled="1"/>
                    <a:tileRect/>
                  </a:gra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scover</a:t>
              </a:r>
              <a:r>
                <a:rPr lang="en-US" sz="1799">
                  <a:latin typeface="Arial" panose="020B0604020202020204" pitchFamily="34" charset="0"/>
                  <a:cs typeface="Arial" panose="020B0604020202020204" pitchFamily="34" charset="0"/>
                </a:rPr>
                <a:t> embedded insight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69595F2-AA1A-564E-B6A2-16CE527C6E28}"/>
                </a:ext>
              </a:extLst>
            </p:cNvPr>
            <p:cNvSpPr/>
            <p:nvPr/>
          </p:nvSpPr>
          <p:spPr>
            <a:xfrm>
              <a:off x="576402" y="2147266"/>
              <a:ext cx="3155428" cy="461665"/>
            </a:xfrm>
            <a:prstGeom prst="rect">
              <a:avLst/>
            </a:prstGeom>
          </p:spPr>
          <p:txBody>
            <a:bodyPr wrap="square" lIns="0" anchor="t">
              <a:spAutoFit/>
            </a:bodyPr>
            <a:lstStyle/>
            <a:p>
              <a:pPr marL="7936" lvl="2" defTabSz="912539" eaLnBrk="0" fontAlgn="base" hangingPunct="0">
                <a:spcBef>
                  <a:spcPts val="533"/>
                </a:spcBef>
                <a:spcAft>
                  <a:spcPct val="0"/>
                </a:spcAft>
                <a:buClr>
                  <a:srgbClr val="F0AB00"/>
                </a:buClr>
                <a:buSzPct val="100000"/>
                <a:defRPr/>
              </a:pPr>
              <a:r>
                <a:rPr lang="en-US" sz="12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-driven decisions </a:t>
              </a:r>
              <a:r>
                <a:rPr lang="en-US" sz="12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measurable outcomes</a:t>
              </a:r>
              <a:endParaRPr 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9824D9C-EE44-764A-9908-746394A0C992}"/>
              </a:ext>
            </a:extLst>
          </p:cNvPr>
          <p:cNvGrpSpPr>
            <a:grpSpLocks noChangeAspect="1"/>
          </p:cNvGrpSpPr>
          <p:nvPr/>
        </p:nvGrpSpPr>
        <p:grpSpPr>
          <a:xfrm>
            <a:off x="124454" y="2028398"/>
            <a:ext cx="3988185" cy="2302772"/>
            <a:chOff x="3689474" y="2638350"/>
            <a:chExt cx="4904021" cy="2831575"/>
          </a:xfrm>
          <a:effectLst>
            <a:reflection blurRad="6350" stA="55000" endPos="20000" dir="5400000" sy="-100000" algn="bl" rotWithShape="0"/>
          </a:effectLst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A350368-693D-D34D-A330-7027924F4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0535" y="2771936"/>
              <a:ext cx="3855557" cy="2489655"/>
            </a:xfrm>
            <a:prstGeom prst="rect">
              <a:avLst/>
            </a:prstGeom>
          </p:spPr>
        </p:pic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B9D16515-E3A1-A843-B4A5-4F5249733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474" y="2638350"/>
              <a:ext cx="4904021" cy="2831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0072A97-A900-164A-9B91-21144B904D5A}"/>
              </a:ext>
            </a:extLst>
          </p:cNvPr>
          <p:cNvGrpSpPr/>
          <p:nvPr/>
        </p:nvGrpSpPr>
        <p:grpSpPr>
          <a:xfrm>
            <a:off x="4288796" y="1135588"/>
            <a:ext cx="3419870" cy="704370"/>
            <a:chOff x="3963264" y="1925622"/>
            <a:chExt cx="3420761" cy="704553"/>
          </a:xfrm>
        </p:grpSpPr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8CCE11A7-94DE-FA4E-9576-B26D8E363857}"/>
                </a:ext>
              </a:extLst>
            </p:cNvPr>
            <p:cNvSpPr txBox="1">
              <a:spLocks/>
            </p:cNvSpPr>
            <p:nvPr/>
          </p:nvSpPr>
          <p:spPr bwMode="black">
            <a:xfrm>
              <a:off x="4164063" y="1925622"/>
              <a:ext cx="3219962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1088558" rtl="0" eaLnBrk="1" latinLnBrk="0" hangingPunct="1">
                <a:spcBef>
                  <a:spcPct val="0"/>
                </a:spcBef>
                <a:buNone/>
                <a:defRPr sz="2400" b="1" kern="120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799">
                  <a:gradFill flip="none" rotWithShape="1">
                    <a:gsLst>
                      <a:gs pos="0">
                        <a:schemeClr val="accent3">
                          <a:lumMod val="75000"/>
                        </a:schemeClr>
                      </a:gs>
                      <a:gs pos="100000">
                        <a:schemeClr val="accent3"/>
                      </a:gs>
                    </a:gsLst>
                    <a:lin ang="0" scaled="1"/>
                    <a:tileRect/>
                  </a:gra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act</a:t>
              </a:r>
              <a:r>
                <a:rPr lang="en-US" sz="1799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799">
                  <a:latin typeface="Arial" panose="020B0604020202020204" pitchFamily="34" charset="0"/>
                  <a:cs typeface="Arial" panose="020B0604020202020204" pitchFamily="34" charset="0"/>
                </a:rPr>
                <a:t>with</a:t>
              </a:r>
              <a:r>
                <a:rPr lang="en-US" sz="1799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799">
                  <a:latin typeface="Arial" panose="020B0604020202020204" pitchFamily="34" charset="0"/>
                  <a:cs typeface="Arial" panose="020B0604020202020204" pitchFamily="34" charset="0"/>
                </a:rPr>
                <a:t>situation handling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5E899F-3CCE-0543-97FC-CAFA7810C3C8}"/>
                </a:ext>
              </a:extLst>
            </p:cNvPr>
            <p:cNvSpPr/>
            <p:nvPr/>
          </p:nvSpPr>
          <p:spPr>
            <a:xfrm>
              <a:off x="3963264" y="2168510"/>
              <a:ext cx="3391800" cy="46166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17865" lvl="2" indent="1588" defTabSz="912539" eaLnBrk="0" fontAlgn="base" hangingPunct="0">
                <a:spcBef>
                  <a:spcPts val="533"/>
                </a:spcBef>
                <a:spcAft>
                  <a:spcPct val="0"/>
                </a:spcAft>
                <a:buClr>
                  <a:srgbClr val="F0AB00"/>
                </a:buClr>
                <a:buSzPct val="100000"/>
                <a:defRPr/>
              </a:pPr>
              <a:r>
                <a:rPr lang="en-US" sz="12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ception-based notifications </a:t>
              </a:r>
              <a:r>
                <a:rPr lang="en-US" sz="12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sight to action</a:t>
              </a:r>
              <a:endParaRPr 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55D44F9-FAF4-1344-B9AC-BC2C65FFB3F0}"/>
              </a:ext>
            </a:extLst>
          </p:cNvPr>
          <p:cNvGrpSpPr/>
          <p:nvPr/>
        </p:nvGrpSpPr>
        <p:grpSpPr>
          <a:xfrm>
            <a:off x="8023588" y="1118255"/>
            <a:ext cx="4152624" cy="694207"/>
            <a:chOff x="8381989" y="1925622"/>
            <a:chExt cx="4153705" cy="694388"/>
          </a:xfrm>
        </p:grpSpPr>
        <p:sp>
          <p:nvSpPr>
            <p:cNvPr id="16" name="Title 1">
              <a:extLst>
                <a:ext uri="{FF2B5EF4-FFF2-40B4-BE49-F238E27FC236}">
                  <a16:creationId xmlns:a16="http://schemas.microsoft.com/office/drawing/2014/main" id="{1592588A-CB68-DB4E-B020-B9565DED2F70}"/>
                </a:ext>
              </a:extLst>
            </p:cNvPr>
            <p:cNvSpPr txBox="1">
              <a:spLocks/>
            </p:cNvSpPr>
            <p:nvPr/>
          </p:nvSpPr>
          <p:spPr bwMode="black">
            <a:xfrm>
              <a:off x="8593496" y="1925622"/>
              <a:ext cx="3942198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1088558" rtl="0" eaLnBrk="1" latinLnBrk="0" hangingPunct="1">
                <a:spcBef>
                  <a:spcPct val="0"/>
                </a:spcBef>
                <a:buNone/>
                <a:defRPr sz="2400" b="1" kern="1200" baseline="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799">
                  <a:gradFill flip="none" rotWithShape="1">
                    <a:gsLst>
                      <a:gs pos="0">
                        <a:schemeClr val="accent3">
                          <a:lumMod val="75000"/>
                        </a:schemeClr>
                      </a:gs>
                      <a:gs pos="100000">
                        <a:schemeClr val="accent3"/>
                      </a:gs>
                    </a:gsLst>
                    <a:lin ang="0" scaled="1"/>
                    <a:tileRect/>
                  </a:gra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</a:t>
              </a:r>
              <a:r>
                <a:rPr lang="en-US" sz="1799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799">
                  <a:latin typeface="Arial" panose="020B0604020202020204" pitchFamily="34" charset="0"/>
                  <a:cs typeface="Arial" panose="020B0604020202020204" pitchFamily="34" charset="0"/>
                </a:rPr>
                <a:t>SAP</a:t>
              </a:r>
              <a:r>
                <a:rPr lang="en-US" sz="1799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799">
                  <a:latin typeface="Arial" panose="020B0604020202020204" pitchFamily="34" charset="0"/>
                  <a:cs typeface="Arial" panose="020B0604020202020204" pitchFamily="34" charset="0"/>
                </a:rPr>
                <a:t>Process Automatio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AC933D2-F91F-5843-B845-2FBF00F266C4}"/>
                </a:ext>
              </a:extLst>
            </p:cNvPr>
            <p:cNvSpPr/>
            <p:nvPr/>
          </p:nvSpPr>
          <p:spPr>
            <a:xfrm>
              <a:off x="8381989" y="2158345"/>
              <a:ext cx="3942198" cy="46166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17865" lvl="2" indent="1588" defTabSz="912539" eaLnBrk="0" fontAlgn="base" hangingPunct="0">
                <a:spcBef>
                  <a:spcPts val="533"/>
                </a:spcBef>
                <a:spcAft>
                  <a:spcPct val="0"/>
                </a:spcAft>
                <a:buClr>
                  <a:srgbClr val="F0AB00"/>
                </a:buClr>
                <a:buSzPct val="100000"/>
                <a:defRPr/>
              </a:pPr>
              <a:r>
                <a:rPr lang="en-US" sz="12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ple bot workflows </a:t>
              </a:r>
              <a:r>
                <a:rPr lang="en-US" sz="12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execution (attended + unattended)</a:t>
              </a:r>
              <a:endParaRPr lang="en-US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48ED99D-C744-D942-A540-5AABBCACEE8C}"/>
              </a:ext>
            </a:extLst>
          </p:cNvPr>
          <p:cNvGrpSpPr/>
          <p:nvPr/>
        </p:nvGrpSpPr>
        <p:grpSpPr>
          <a:xfrm>
            <a:off x="8042021" y="2028398"/>
            <a:ext cx="3987520" cy="2302772"/>
            <a:chOff x="7856573" y="2645908"/>
            <a:chExt cx="4613025" cy="2664000"/>
          </a:xfrm>
          <a:effectLst>
            <a:reflection blurRad="6350" stA="55000" endPos="20000" dir="5400000" sy="-100000" algn="bl" rotWithShape="0"/>
          </a:effectLst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F772F4A-586E-594A-8832-A6E44C7F4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8346715" y="2789998"/>
              <a:ext cx="3626775" cy="2226839"/>
            </a:xfrm>
            <a:prstGeom prst="rect">
              <a:avLst/>
            </a:prstGeom>
          </p:spPr>
        </p:pic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EEAEFF19-F0B0-EE4A-AE57-2AFB19184A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6573" y="2645908"/>
              <a:ext cx="4613025" cy="26640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1C94D9E3-C8BD-4943-BD63-9A150801DD5B}"/>
              </a:ext>
            </a:extLst>
          </p:cNvPr>
          <p:cNvSpPr txBox="1">
            <a:spLocks/>
          </p:cNvSpPr>
          <p:nvPr/>
        </p:nvSpPr>
        <p:spPr bwMode="black">
          <a:xfrm>
            <a:off x="207871" y="102552"/>
            <a:ext cx="11180652" cy="7077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912"/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bedded intelligence helps unlock efficiencies</a:t>
            </a:r>
          </a:p>
          <a:p>
            <a:pPr defTabSz="931912"/>
            <a:endParaRPr lang="en-US" sz="1799" b="0" spc="-50" dirty="0">
              <a:ln w="3175">
                <a:noFill/>
              </a:ln>
            </a:endParaRPr>
          </a:p>
        </p:txBody>
      </p:sp>
      <p:pic>
        <p:nvPicPr>
          <p:cNvPr id="22" name="Picture 21">
            <a:hlinkClick r:id="rId7"/>
            <a:extLst>
              <a:ext uri="{FF2B5EF4-FFF2-40B4-BE49-F238E27FC236}">
                <a16:creationId xmlns:a16="http://schemas.microsoft.com/office/drawing/2014/main" id="{FD24A166-4A0D-41F8-A348-2E537B6E3A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8527" y="4673248"/>
            <a:ext cx="2662622" cy="1439625"/>
          </a:xfrm>
          <a:prstGeom prst="rect">
            <a:avLst/>
          </a:prstGeom>
          <a:ln w="6350">
            <a:solidFill>
              <a:schemeClr val="bg1">
                <a:lumMod val="65000"/>
              </a:schemeClr>
            </a:solidFill>
          </a:ln>
        </p:spPr>
      </p:pic>
      <p:sp>
        <p:nvSpPr>
          <p:cNvPr id="25" name="Rectangle 24">
            <a:hlinkClick r:id="rId9"/>
            <a:extLst>
              <a:ext uri="{FF2B5EF4-FFF2-40B4-BE49-F238E27FC236}">
                <a16:creationId xmlns:a16="http://schemas.microsoft.com/office/drawing/2014/main" id="{10B873C8-5EFD-41D7-B7A8-2EC17517B946}"/>
              </a:ext>
            </a:extLst>
          </p:cNvPr>
          <p:cNvSpPr/>
          <p:nvPr/>
        </p:nvSpPr>
        <p:spPr>
          <a:xfrm>
            <a:off x="8393347" y="4877670"/>
            <a:ext cx="2699297" cy="10307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1088122">
              <a:spcBef>
                <a:spcPts val="300"/>
              </a:spcBef>
              <a:defRPr/>
            </a:pPr>
            <a:r>
              <a:rPr lang="en-US" sz="1999" b="1" spc="-10">
                <a:solidFill>
                  <a:srgbClr val="006B9E"/>
                </a:solidFill>
                <a:latin typeface="Arial"/>
              </a:rPr>
              <a:t>42%</a:t>
            </a:r>
            <a:br>
              <a:rPr lang="en-US" sz="2799" b="1">
                <a:solidFill>
                  <a:srgbClr val="006B9E"/>
                </a:solidFill>
                <a:latin typeface="Arial"/>
              </a:rPr>
            </a:br>
            <a:r>
              <a:rPr lang="en-US" sz="11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of sales orders automated</a:t>
            </a:r>
            <a:br>
              <a:rPr lang="en-US" sz="11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</a:br>
            <a:r>
              <a:rPr lang="en-US" sz="1400" b="1" spc="-10">
                <a:solidFill>
                  <a:srgbClr val="006B9E"/>
                </a:solidFill>
                <a:latin typeface="Arial"/>
              </a:rPr>
              <a:t>Integrating Solutions </a:t>
            </a:r>
            <a:br>
              <a:rPr lang="en-US" sz="1400" b="1" spc="-10">
                <a:solidFill>
                  <a:srgbClr val="006B9E"/>
                </a:solidFill>
                <a:latin typeface="Arial"/>
              </a:rPr>
            </a:br>
            <a:r>
              <a:rPr lang="en-US" sz="11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for a real-time overview of </a:t>
            </a:r>
            <a:br>
              <a:rPr lang="en-US" sz="11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</a:br>
            <a:r>
              <a:rPr lang="en-US" sz="1100" b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the entire go-to- market channel</a:t>
            </a:r>
          </a:p>
        </p:txBody>
      </p:sp>
      <p:sp>
        <p:nvSpPr>
          <p:cNvPr id="26" name="Rectangle 25">
            <a:hlinkClick r:id="rId10"/>
            <a:extLst>
              <a:ext uri="{FF2B5EF4-FFF2-40B4-BE49-F238E27FC236}">
                <a16:creationId xmlns:a16="http://schemas.microsoft.com/office/drawing/2014/main" id="{15D88164-D6F4-4EB7-ADE1-CA0F5C9CC07C}"/>
              </a:ext>
            </a:extLst>
          </p:cNvPr>
          <p:cNvSpPr/>
          <p:nvPr/>
        </p:nvSpPr>
        <p:spPr>
          <a:xfrm>
            <a:off x="1247031" y="4858437"/>
            <a:ext cx="2699297" cy="1069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marL="0" algn="l" defTabSz="1088776" rtl="0" eaLnBrk="1" latinLnBrk="0" hangingPunct="1"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544388" algn="l" defTabSz="1088776" rtl="0" eaLnBrk="1" latinLnBrk="0" hangingPunct="1">
              <a:buClr>
                <a:srgbClr val="FDB913"/>
              </a:buClr>
              <a:buSzPct val="100000"/>
              <a:buFont typeface="wingdings"/>
              <a:buChar char=""/>
              <a:defRPr lang="de-DE" sz="21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88776" algn="l" defTabSz="1088776" rtl="0" eaLnBrk="1" latinLnBrk="0" hangingPunct="1">
              <a:buClr>
                <a:srgbClr val="666666"/>
              </a:buClr>
              <a:buSzPct val="80000"/>
              <a:buFont typeface="Wingdings"/>
              <a:buChar char="n"/>
              <a:defRPr lang="de-DE" sz="17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33164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177552" algn="l" defTabSz="1088776" rtl="0" eaLnBrk="1" latinLnBrk="0" hangingPunct="1">
              <a:buClr>
                <a:srgbClr val="666666"/>
              </a:buClr>
              <a:buSzPct val="80000"/>
              <a:buFont typeface="Arial"/>
              <a:buChar char=""/>
              <a:defRPr lang="de-DE"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721940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6328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10716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5104" algn="l" defTabSz="108877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88122">
              <a:spcBef>
                <a:spcPts val="300"/>
              </a:spcBef>
              <a:defRPr/>
            </a:pPr>
            <a:r>
              <a:rPr lang="en-US" sz="1999" b="1" spc="-10">
                <a:solidFill>
                  <a:srgbClr val="006B9E"/>
                </a:solidFill>
              </a:rPr>
              <a:t>7 Times</a:t>
            </a:r>
            <a:br>
              <a:rPr lang="en-US" sz="1799" b="1" spc="-10">
                <a:solidFill>
                  <a:srgbClr val="4FB81C"/>
                </a:solidFill>
              </a:rPr>
            </a:br>
            <a:r>
              <a:rPr lang="en-US" sz="1100" b="1" spc="-10">
                <a:solidFill>
                  <a:srgbClr val="000000"/>
                </a:solidFill>
              </a:rPr>
              <a:t>increase in order processing capacity</a:t>
            </a:r>
          </a:p>
          <a:p>
            <a:pPr algn="ctr" defTabSz="1088122">
              <a:spcBef>
                <a:spcPts val="300"/>
              </a:spcBef>
              <a:defRPr/>
            </a:pPr>
            <a:r>
              <a:rPr lang="en-US" sz="1400" b="1" spc="-10">
                <a:solidFill>
                  <a:srgbClr val="006B9E"/>
                </a:solidFill>
              </a:rPr>
              <a:t>Streamlining Order-to-Cash </a:t>
            </a:r>
            <a:r>
              <a:rPr lang="en-US" sz="1100" b="1" spc="-10">
                <a:solidFill>
                  <a:srgbClr val="000000"/>
                </a:solidFill>
              </a:rPr>
              <a:t>processes increases capacity for seasonal sales peaks</a:t>
            </a:r>
          </a:p>
        </p:txBody>
      </p:sp>
    </p:spTree>
    <p:extLst>
      <p:ext uri="{BB962C8B-B14F-4D97-AF65-F5344CB8AC3E}">
        <p14:creationId xmlns:p14="http://schemas.microsoft.com/office/powerpoint/2010/main" val="319117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3E437-E059-B44F-AC90-6808955B9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7993"/>
            <a:ext cx="12283440" cy="430663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-tier ERP Overview – for large enterprises (on SAP ECC or S/4HANA)</a:t>
            </a:r>
          </a:p>
        </p:txBody>
      </p:sp>
      <p:sp>
        <p:nvSpPr>
          <p:cNvPr id="262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E87A5C45-23F8-4D3B-85C3-AC09030C11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9447" y="4568209"/>
            <a:ext cx="1100998" cy="1111453"/>
          </a:xfrm>
          <a:prstGeom prst="rect">
            <a:avLst/>
          </a:prstGeom>
          <a:solidFill>
            <a:srgbClr val="F2F2F2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61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80282421-16D3-4EFA-AE97-B1A7319ED2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9448" y="4573693"/>
            <a:ext cx="1100998" cy="339990"/>
          </a:xfrm>
          <a:prstGeom prst="rect">
            <a:avLst/>
          </a:prstGeom>
          <a:solidFill>
            <a:srgbClr val="0FAAFF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none" lIns="52979" tIns="26490" rIns="52979" bIns="26490" numCol="1" anchor="ctr" anchorCtr="0" compatLnSpc="1">
            <a:prstTxWarp prst="textNoShape">
              <a:avLst/>
            </a:prstTxWarp>
          </a:bodyPr>
          <a:lstStyle/>
          <a:p>
            <a:pPr algn="ctr" defTabSz="1087578"/>
            <a:r>
              <a:rPr lang="en-US" sz="1099" b="1">
                <a:solidFill>
                  <a:schemeClr val="bg1"/>
                </a:solidFill>
              </a:rPr>
              <a:t>Acquisitions</a:t>
            </a:r>
          </a:p>
        </p:txBody>
      </p:sp>
      <p:sp>
        <p:nvSpPr>
          <p:cNvPr id="263" name="Freeform 11">
            <a:extLst>
              <a:ext uri="{FF2B5EF4-FFF2-40B4-BE49-F238E27FC236}">
                <a16:creationId xmlns:a16="http://schemas.microsoft.com/office/drawing/2014/main" id="{4CD8332A-DA27-4D40-A53D-1A6253271CD3}"/>
              </a:ext>
            </a:extLst>
          </p:cNvPr>
          <p:cNvSpPr>
            <a:spLocks noEditPoints="1"/>
          </p:cNvSpPr>
          <p:nvPr/>
        </p:nvSpPr>
        <p:spPr bwMode="auto">
          <a:xfrm>
            <a:off x="2712410" y="5040269"/>
            <a:ext cx="775070" cy="339992"/>
          </a:xfrm>
          <a:custGeom>
            <a:avLst/>
            <a:gdLst>
              <a:gd name="T0" fmla="*/ 0 w 1239"/>
              <a:gd name="T1" fmla="*/ 0 h 735"/>
              <a:gd name="T2" fmla="*/ 295 w 1239"/>
              <a:gd name="T3" fmla="*/ 0 h 735"/>
              <a:gd name="T4" fmla="*/ 295 w 1239"/>
              <a:gd name="T5" fmla="*/ 288 h 735"/>
              <a:gd name="T6" fmla="*/ 0 w 1239"/>
              <a:gd name="T7" fmla="*/ 288 h 735"/>
              <a:gd name="T8" fmla="*/ 0 w 1239"/>
              <a:gd name="T9" fmla="*/ 0 h 735"/>
              <a:gd name="T10" fmla="*/ 472 w 1239"/>
              <a:gd name="T11" fmla="*/ 0 h 735"/>
              <a:gd name="T12" fmla="*/ 767 w 1239"/>
              <a:gd name="T13" fmla="*/ 0 h 735"/>
              <a:gd name="T14" fmla="*/ 767 w 1239"/>
              <a:gd name="T15" fmla="*/ 288 h 735"/>
              <a:gd name="T16" fmla="*/ 472 w 1239"/>
              <a:gd name="T17" fmla="*/ 288 h 735"/>
              <a:gd name="T18" fmla="*/ 472 w 1239"/>
              <a:gd name="T19" fmla="*/ 0 h 735"/>
              <a:gd name="T20" fmla="*/ 944 w 1239"/>
              <a:gd name="T21" fmla="*/ 0 h 735"/>
              <a:gd name="T22" fmla="*/ 1239 w 1239"/>
              <a:gd name="T23" fmla="*/ 0 h 735"/>
              <a:gd name="T24" fmla="*/ 1239 w 1239"/>
              <a:gd name="T25" fmla="*/ 288 h 735"/>
              <a:gd name="T26" fmla="*/ 944 w 1239"/>
              <a:gd name="T27" fmla="*/ 288 h 735"/>
              <a:gd name="T28" fmla="*/ 944 w 1239"/>
              <a:gd name="T29" fmla="*/ 0 h 735"/>
              <a:gd name="T30" fmla="*/ 0 w 1239"/>
              <a:gd name="T31" fmla="*/ 447 h 735"/>
              <a:gd name="T32" fmla="*/ 295 w 1239"/>
              <a:gd name="T33" fmla="*/ 447 h 735"/>
              <a:gd name="T34" fmla="*/ 295 w 1239"/>
              <a:gd name="T35" fmla="*/ 735 h 735"/>
              <a:gd name="T36" fmla="*/ 0 w 1239"/>
              <a:gd name="T37" fmla="*/ 735 h 735"/>
              <a:gd name="T38" fmla="*/ 0 w 1239"/>
              <a:gd name="T39" fmla="*/ 447 h 735"/>
              <a:gd name="T40" fmla="*/ 472 w 1239"/>
              <a:gd name="T41" fmla="*/ 447 h 735"/>
              <a:gd name="T42" fmla="*/ 767 w 1239"/>
              <a:gd name="T43" fmla="*/ 447 h 735"/>
              <a:gd name="T44" fmla="*/ 767 w 1239"/>
              <a:gd name="T45" fmla="*/ 735 h 735"/>
              <a:gd name="T46" fmla="*/ 472 w 1239"/>
              <a:gd name="T47" fmla="*/ 735 h 735"/>
              <a:gd name="T48" fmla="*/ 472 w 1239"/>
              <a:gd name="T49" fmla="*/ 447 h 735"/>
              <a:gd name="T50" fmla="*/ 944 w 1239"/>
              <a:gd name="T51" fmla="*/ 447 h 735"/>
              <a:gd name="T52" fmla="*/ 1239 w 1239"/>
              <a:gd name="T53" fmla="*/ 447 h 735"/>
              <a:gd name="T54" fmla="*/ 1239 w 1239"/>
              <a:gd name="T55" fmla="*/ 735 h 735"/>
              <a:gd name="T56" fmla="*/ 944 w 1239"/>
              <a:gd name="T57" fmla="*/ 735 h 735"/>
              <a:gd name="T58" fmla="*/ 944 w 1239"/>
              <a:gd name="T59" fmla="*/ 447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9" h="735">
                <a:moveTo>
                  <a:pt x="0" y="0"/>
                </a:moveTo>
                <a:lnTo>
                  <a:pt x="295" y="0"/>
                </a:lnTo>
                <a:lnTo>
                  <a:pt x="295" y="288"/>
                </a:lnTo>
                <a:lnTo>
                  <a:pt x="0" y="288"/>
                </a:lnTo>
                <a:lnTo>
                  <a:pt x="0" y="0"/>
                </a:lnTo>
                <a:close/>
                <a:moveTo>
                  <a:pt x="472" y="0"/>
                </a:moveTo>
                <a:lnTo>
                  <a:pt x="767" y="0"/>
                </a:lnTo>
                <a:lnTo>
                  <a:pt x="767" y="288"/>
                </a:lnTo>
                <a:lnTo>
                  <a:pt x="472" y="288"/>
                </a:lnTo>
                <a:lnTo>
                  <a:pt x="472" y="0"/>
                </a:lnTo>
                <a:close/>
                <a:moveTo>
                  <a:pt x="944" y="0"/>
                </a:moveTo>
                <a:lnTo>
                  <a:pt x="1239" y="0"/>
                </a:lnTo>
                <a:lnTo>
                  <a:pt x="1239" y="288"/>
                </a:lnTo>
                <a:lnTo>
                  <a:pt x="944" y="288"/>
                </a:lnTo>
                <a:lnTo>
                  <a:pt x="944" y="0"/>
                </a:lnTo>
                <a:close/>
                <a:moveTo>
                  <a:pt x="0" y="447"/>
                </a:moveTo>
                <a:lnTo>
                  <a:pt x="295" y="447"/>
                </a:lnTo>
                <a:lnTo>
                  <a:pt x="295" y="735"/>
                </a:lnTo>
                <a:lnTo>
                  <a:pt x="0" y="735"/>
                </a:lnTo>
                <a:lnTo>
                  <a:pt x="0" y="447"/>
                </a:lnTo>
                <a:close/>
                <a:moveTo>
                  <a:pt x="472" y="447"/>
                </a:moveTo>
                <a:lnTo>
                  <a:pt x="767" y="447"/>
                </a:lnTo>
                <a:lnTo>
                  <a:pt x="767" y="735"/>
                </a:lnTo>
                <a:lnTo>
                  <a:pt x="472" y="735"/>
                </a:lnTo>
                <a:lnTo>
                  <a:pt x="472" y="447"/>
                </a:lnTo>
                <a:close/>
                <a:moveTo>
                  <a:pt x="944" y="447"/>
                </a:moveTo>
                <a:lnTo>
                  <a:pt x="1239" y="447"/>
                </a:lnTo>
                <a:lnTo>
                  <a:pt x="1239" y="735"/>
                </a:lnTo>
                <a:lnTo>
                  <a:pt x="944" y="735"/>
                </a:lnTo>
                <a:lnTo>
                  <a:pt x="944" y="447"/>
                </a:lnTo>
                <a:close/>
              </a:path>
            </a:pathLst>
          </a:cu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64" name="Line 12">
            <a:extLst>
              <a:ext uri="{FF2B5EF4-FFF2-40B4-BE49-F238E27FC236}">
                <a16:creationId xmlns:a16="http://schemas.microsoft.com/office/drawing/2014/main" id="{346BD24D-CDD1-4BF4-B242-70A333B8EE97}"/>
              </a:ext>
            </a:extLst>
          </p:cNvPr>
          <p:cNvSpPr>
            <a:spLocks noChangeShapeType="1"/>
          </p:cNvSpPr>
          <p:nvPr/>
        </p:nvSpPr>
        <p:spPr bwMode="auto">
          <a:xfrm>
            <a:off x="2408552" y="5679662"/>
            <a:ext cx="1382788" cy="0"/>
          </a:xfrm>
          <a:prstGeom prst="line">
            <a:avLst/>
          </a:pr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65" name="Rectangle 57">
            <a:extLst>
              <a:ext uri="{FF2B5EF4-FFF2-40B4-BE49-F238E27FC236}">
                <a16:creationId xmlns:a16="http://schemas.microsoft.com/office/drawing/2014/main" id="{A6F5349F-5104-4FC4-A15D-BFAE5B90A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2197" y="5406950"/>
            <a:ext cx="64" cy="169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3395"/>
            <a:endParaRPr lang="en-US" altLang="de-DE" sz="1099">
              <a:solidFill>
                <a:srgbClr val="000000"/>
              </a:solidFill>
            </a:endParaRPr>
          </a:p>
        </p:txBody>
      </p:sp>
      <p:pic>
        <p:nvPicPr>
          <p:cNvPr id="216" name="Picture 215">
            <a:extLst>
              <a:ext uri="{FF2B5EF4-FFF2-40B4-BE49-F238E27FC236}">
                <a16:creationId xmlns:a16="http://schemas.microsoft.com/office/drawing/2014/main" id="{C3BB429A-3094-4EB6-9F72-5561CB6D0D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9669" y="5014876"/>
            <a:ext cx="715484" cy="659899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grpSp>
        <p:nvGrpSpPr>
          <p:cNvPr id="217" name="Group 216">
            <a:extLst>
              <a:ext uri="{FF2B5EF4-FFF2-40B4-BE49-F238E27FC236}">
                <a16:creationId xmlns:a16="http://schemas.microsoft.com/office/drawing/2014/main" id="{B157CDA8-8027-4F4B-917F-14CC9ED78908}"/>
              </a:ext>
            </a:extLst>
          </p:cNvPr>
          <p:cNvGrpSpPr/>
          <p:nvPr/>
        </p:nvGrpSpPr>
        <p:grpSpPr>
          <a:xfrm>
            <a:off x="2995966" y="4369455"/>
            <a:ext cx="252196" cy="236824"/>
            <a:chOff x="8704289" y="3499234"/>
            <a:chExt cx="273921" cy="267734"/>
          </a:xfrm>
        </p:grpSpPr>
        <p:sp>
          <p:nvSpPr>
            <p:cNvPr id="311" name="Ellipse 343">
              <a:extLst>
                <a:ext uri="{FF2B5EF4-FFF2-40B4-BE49-F238E27FC236}">
                  <a16:creationId xmlns:a16="http://schemas.microsoft.com/office/drawing/2014/main" id="{C7C9F088-29EF-403D-9A42-C6898F9FB286}"/>
                </a:ext>
              </a:extLst>
            </p:cNvPr>
            <p:cNvSpPr/>
            <p:nvPr/>
          </p:nvSpPr>
          <p:spPr bwMode="gray">
            <a:xfrm>
              <a:off x="8704289" y="3499234"/>
              <a:ext cx="273921" cy="267734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12" name="Ellipse 344">
              <a:extLst>
                <a:ext uri="{FF2B5EF4-FFF2-40B4-BE49-F238E27FC236}">
                  <a16:creationId xmlns:a16="http://schemas.microsoft.com/office/drawing/2014/main" id="{DAC7A27D-8A00-470A-A871-31A6B874A9C6}"/>
                </a:ext>
              </a:extLst>
            </p:cNvPr>
            <p:cNvSpPr/>
            <p:nvPr/>
          </p:nvSpPr>
          <p:spPr bwMode="gray">
            <a:xfrm>
              <a:off x="8798550" y="3591366"/>
              <a:ext cx="85400" cy="83471"/>
            </a:xfrm>
            <a:prstGeom prst="ellipse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96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D2FE3242-5B2B-4661-9A98-C71EC1D16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4336" y="4592244"/>
            <a:ext cx="1100997" cy="1111454"/>
          </a:xfrm>
          <a:prstGeom prst="rect">
            <a:avLst/>
          </a:prstGeom>
          <a:solidFill>
            <a:srgbClr val="F2F2F2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97" name="Freeform 11">
            <a:extLst>
              <a:ext uri="{FF2B5EF4-FFF2-40B4-BE49-F238E27FC236}">
                <a16:creationId xmlns:a16="http://schemas.microsoft.com/office/drawing/2014/main" id="{E4CCE343-A72F-4910-A034-0E01C4A2CC57}"/>
              </a:ext>
            </a:extLst>
          </p:cNvPr>
          <p:cNvSpPr>
            <a:spLocks noEditPoints="1"/>
          </p:cNvSpPr>
          <p:nvPr/>
        </p:nvSpPr>
        <p:spPr bwMode="auto">
          <a:xfrm>
            <a:off x="8407301" y="5064305"/>
            <a:ext cx="775069" cy="339992"/>
          </a:xfrm>
          <a:custGeom>
            <a:avLst/>
            <a:gdLst>
              <a:gd name="T0" fmla="*/ 0 w 1239"/>
              <a:gd name="T1" fmla="*/ 0 h 735"/>
              <a:gd name="T2" fmla="*/ 295 w 1239"/>
              <a:gd name="T3" fmla="*/ 0 h 735"/>
              <a:gd name="T4" fmla="*/ 295 w 1239"/>
              <a:gd name="T5" fmla="*/ 288 h 735"/>
              <a:gd name="T6" fmla="*/ 0 w 1239"/>
              <a:gd name="T7" fmla="*/ 288 h 735"/>
              <a:gd name="T8" fmla="*/ 0 w 1239"/>
              <a:gd name="T9" fmla="*/ 0 h 735"/>
              <a:gd name="T10" fmla="*/ 472 w 1239"/>
              <a:gd name="T11" fmla="*/ 0 h 735"/>
              <a:gd name="T12" fmla="*/ 767 w 1239"/>
              <a:gd name="T13" fmla="*/ 0 h 735"/>
              <a:gd name="T14" fmla="*/ 767 w 1239"/>
              <a:gd name="T15" fmla="*/ 288 h 735"/>
              <a:gd name="T16" fmla="*/ 472 w 1239"/>
              <a:gd name="T17" fmla="*/ 288 h 735"/>
              <a:gd name="T18" fmla="*/ 472 w 1239"/>
              <a:gd name="T19" fmla="*/ 0 h 735"/>
              <a:gd name="T20" fmla="*/ 944 w 1239"/>
              <a:gd name="T21" fmla="*/ 0 h 735"/>
              <a:gd name="T22" fmla="*/ 1239 w 1239"/>
              <a:gd name="T23" fmla="*/ 0 h 735"/>
              <a:gd name="T24" fmla="*/ 1239 w 1239"/>
              <a:gd name="T25" fmla="*/ 288 h 735"/>
              <a:gd name="T26" fmla="*/ 944 w 1239"/>
              <a:gd name="T27" fmla="*/ 288 h 735"/>
              <a:gd name="T28" fmla="*/ 944 w 1239"/>
              <a:gd name="T29" fmla="*/ 0 h 735"/>
              <a:gd name="T30" fmla="*/ 0 w 1239"/>
              <a:gd name="T31" fmla="*/ 447 h 735"/>
              <a:gd name="T32" fmla="*/ 295 w 1239"/>
              <a:gd name="T33" fmla="*/ 447 h 735"/>
              <a:gd name="T34" fmla="*/ 295 w 1239"/>
              <a:gd name="T35" fmla="*/ 735 h 735"/>
              <a:gd name="T36" fmla="*/ 0 w 1239"/>
              <a:gd name="T37" fmla="*/ 735 h 735"/>
              <a:gd name="T38" fmla="*/ 0 w 1239"/>
              <a:gd name="T39" fmla="*/ 447 h 735"/>
              <a:gd name="T40" fmla="*/ 472 w 1239"/>
              <a:gd name="T41" fmla="*/ 447 h 735"/>
              <a:gd name="T42" fmla="*/ 767 w 1239"/>
              <a:gd name="T43" fmla="*/ 447 h 735"/>
              <a:gd name="T44" fmla="*/ 767 w 1239"/>
              <a:gd name="T45" fmla="*/ 735 h 735"/>
              <a:gd name="T46" fmla="*/ 472 w 1239"/>
              <a:gd name="T47" fmla="*/ 735 h 735"/>
              <a:gd name="T48" fmla="*/ 472 w 1239"/>
              <a:gd name="T49" fmla="*/ 447 h 735"/>
              <a:gd name="T50" fmla="*/ 944 w 1239"/>
              <a:gd name="T51" fmla="*/ 447 h 735"/>
              <a:gd name="T52" fmla="*/ 1239 w 1239"/>
              <a:gd name="T53" fmla="*/ 447 h 735"/>
              <a:gd name="T54" fmla="*/ 1239 w 1239"/>
              <a:gd name="T55" fmla="*/ 735 h 735"/>
              <a:gd name="T56" fmla="*/ 944 w 1239"/>
              <a:gd name="T57" fmla="*/ 735 h 735"/>
              <a:gd name="T58" fmla="*/ 944 w 1239"/>
              <a:gd name="T59" fmla="*/ 447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9" h="735">
                <a:moveTo>
                  <a:pt x="0" y="0"/>
                </a:moveTo>
                <a:lnTo>
                  <a:pt x="295" y="0"/>
                </a:lnTo>
                <a:lnTo>
                  <a:pt x="295" y="288"/>
                </a:lnTo>
                <a:lnTo>
                  <a:pt x="0" y="288"/>
                </a:lnTo>
                <a:lnTo>
                  <a:pt x="0" y="0"/>
                </a:lnTo>
                <a:close/>
                <a:moveTo>
                  <a:pt x="472" y="0"/>
                </a:moveTo>
                <a:lnTo>
                  <a:pt x="767" y="0"/>
                </a:lnTo>
                <a:lnTo>
                  <a:pt x="767" y="288"/>
                </a:lnTo>
                <a:lnTo>
                  <a:pt x="472" y="288"/>
                </a:lnTo>
                <a:lnTo>
                  <a:pt x="472" y="0"/>
                </a:lnTo>
                <a:close/>
                <a:moveTo>
                  <a:pt x="944" y="0"/>
                </a:moveTo>
                <a:lnTo>
                  <a:pt x="1239" y="0"/>
                </a:lnTo>
                <a:lnTo>
                  <a:pt x="1239" y="288"/>
                </a:lnTo>
                <a:lnTo>
                  <a:pt x="944" y="288"/>
                </a:lnTo>
                <a:lnTo>
                  <a:pt x="944" y="0"/>
                </a:lnTo>
                <a:close/>
                <a:moveTo>
                  <a:pt x="0" y="447"/>
                </a:moveTo>
                <a:lnTo>
                  <a:pt x="295" y="447"/>
                </a:lnTo>
                <a:lnTo>
                  <a:pt x="295" y="735"/>
                </a:lnTo>
                <a:lnTo>
                  <a:pt x="0" y="735"/>
                </a:lnTo>
                <a:lnTo>
                  <a:pt x="0" y="447"/>
                </a:lnTo>
                <a:close/>
                <a:moveTo>
                  <a:pt x="472" y="447"/>
                </a:moveTo>
                <a:lnTo>
                  <a:pt x="767" y="447"/>
                </a:lnTo>
                <a:lnTo>
                  <a:pt x="767" y="735"/>
                </a:lnTo>
                <a:lnTo>
                  <a:pt x="472" y="735"/>
                </a:lnTo>
                <a:lnTo>
                  <a:pt x="472" y="447"/>
                </a:lnTo>
                <a:close/>
                <a:moveTo>
                  <a:pt x="944" y="447"/>
                </a:moveTo>
                <a:lnTo>
                  <a:pt x="1239" y="447"/>
                </a:lnTo>
                <a:lnTo>
                  <a:pt x="1239" y="735"/>
                </a:lnTo>
                <a:lnTo>
                  <a:pt x="944" y="735"/>
                </a:lnTo>
                <a:lnTo>
                  <a:pt x="944" y="447"/>
                </a:lnTo>
                <a:close/>
              </a:path>
            </a:pathLst>
          </a:cu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98" name="Line 12">
            <a:extLst>
              <a:ext uri="{FF2B5EF4-FFF2-40B4-BE49-F238E27FC236}">
                <a16:creationId xmlns:a16="http://schemas.microsoft.com/office/drawing/2014/main" id="{9D197BA9-EBE8-4B19-9F81-AF5867F26D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3443" y="5703696"/>
            <a:ext cx="1382787" cy="0"/>
          </a:xfrm>
          <a:prstGeom prst="line">
            <a:avLst/>
          </a:pr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99" name="Rectangle 57">
            <a:extLst>
              <a:ext uri="{FF2B5EF4-FFF2-40B4-BE49-F238E27FC236}">
                <a16:creationId xmlns:a16="http://schemas.microsoft.com/office/drawing/2014/main" id="{9250BDC6-DB5A-4228-8F77-A805AA970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7086" y="5430987"/>
            <a:ext cx="64" cy="169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3395"/>
            <a:endParaRPr lang="en-US" altLang="de-DE" sz="1099">
              <a:solidFill>
                <a:srgbClr val="000000"/>
              </a:solidFill>
            </a:endParaRPr>
          </a:p>
        </p:txBody>
      </p:sp>
      <p:pic>
        <p:nvPicPr>
          <p:cNvPr id="224" name="Picture 223">
            <a:extLst>
              <a:ext uri="{FF2B5EF4-FFF2-40B4-BE49-F238E27FC236}">
                <a16:creationId xmlns:a16="http://schemas.microsoft.com/office/drawing/2014/main" id="{AAE61117-858A-4C01-AEB5-A03A3B0613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802" y="5008168"/>
            <a:ext cx="739282" cy="694737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sp>
        <p:nvSpPr>
          <p:cNvPr id="288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97059D0F-6D6C-4C15-973B-6E19B1A495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6631" y="4586360"/>
            <a:ext cx="1100998" cy="1111454"/>
          </a:xfrm>
          <a:prstGeom prst="rect">
            <a:avLst/>
          </a:prstGeom>
          <a:solidFill>
            <a:srgbClr val="F2F2F2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89" name="Freeform 11">
            <a:extLst>
              <a:ext uri="{FF2B5EF4-FFF2-40B4-BE49-F238E27FC236}">
                <a16:creationId xmlns:a16="http://schemas.microsoft.com/office/drawing/2014/main" id="{85403811-FEA2-4CFB-88C9-8489E5A6539A}"/>
              </a:ext>
            </a:extLst>
          </p:cNvPr>
          <p:cNvSpPr>
            <a:spLocks noEditPoints="1"/>
          </p:cNvSpPr>
          <p:nvPr/>
        </p:nvSpPr>
        <p:spPr bwMode="auto">
          <a:xfrm>
            <a:off x="6599593" y="5058421"/>
            <a:ext cx="775070" cy="339992"/>
          </a:xfrm>
          <a:custGeom>
            <a:avLst/>
            <a:gdLst>
              <a:gd name="T0" fmla="*/ 0 w 1239"/>
              <a:gd name="T1" fmla="*/ 0 h 735"/>
              <a:gd name="T2" fmla="*/ 295 w 1239"/>
              <a:gd name="T3" fmla="*/ 0 h 735"/>
              <a:gd name="T4" fmla="*/ 295 w 1239"/>
              <a:gd name="T5" fmla="*/ 288 h 735"/>
              <a:gd name="T6" fmla="*/ 0 w 1239"/>
              <a:gd name="T7" fmla="*/ 288 h 735"/>
              <a:gd name="T8" fmla="*/ 0 w 1239"/>
              <a:gd name="T9" fmla="*/ 0 h 735"/>
              <a:gd name="T10" fmla="*/ 472 w 1239"/>
              <a:gd name="T11" fmla="*/ 0 h 735"/>
              <a:gd name="T12" fmla="*/ 767 w 1239"/>
              <a:gd name="T13" fmla="*/ 0 h 735"/>
              <a:gd name="T14" fmla="*/ 767 w 1239"/>
              <a:gd name="T15" fmla="*/ 288 h 735"/>
              <a:gd name="T16" fmla="*/ 472 w 1239"/>
              <a:gd name="T17" fmla="*/ 288 h 735"/>
              <a:gd name="T18" fmla="*/ 472 w 1239"/>
              <a:gd name="T19" fmla="*/ 0 h 735"/>
              <a:gd name="T20" fmla="*/ 944 w 1239"/>
              <a:gd name="T21" fmla="*/ 0 h 735"/>
              <a:gd name="T22" fmla="*/ 1239 w 1239"/>
              <a:gd name="T23" fmla="*/ 0 h 735"/>
              <a:gd name="T24" fmla="*/ 1239 w 1239"/>
              <a:gd name="T25" fmla="*/ 288 h 735"/>
              <a:gd name="T26" fmla="*/ 944 w 1239"/>
              <a:gd name="T27" fmla="*/ 288 h 735"/>
              <a:gd name="T28" fmla="*/ 944 w 1239"/>
              <a:gd name="T29" fmla="*/ 0 h 735"/>
              <a:gd name="T30" fmla="*/ 0 w 1239"/>
              <a:gd name="T31" fmla="*/ 447 h 735"/>
              <a:gd name="T32" fmla="*/ 295 w 1239"/>
              <a:gd name="T33" fmla="*/ 447 h 735"/>
              <a:gd name="T34" fmla="*/ 295 w 1239"/>
              <a:gd name="T35" fmla="*/ 735 h 735"/>
              <a:gd name="T36" fmla="*/ 0 w 1239"/>
              <a:gd name="T37" fmla="*/ 735 h 735"/>
              <a:gd name="T38" fmla="*/ 0 w 1239"/>
              <a:gd name="T39" fmla="*/ 447 h 735"/>
              <a:gd name="T40" fmla="*/ 472 w 1239"/>
              <a:gd name="T41" fmla="*/ 447 h 735"/>
              <a:gd name="T42" fmla="*/ 767 w 1239"/>
              <a:gd name="T43" fmla="*/ 447 h 735"/>
              <a:gd name="T44" fmla="*/ 767 w 1239"/>
              <a:gd name="T45" fmla="*/ 735 h 735"/>
              <a:gd name="T46" fmla="*/ 472 w 1239"/>
              <a:gd name="T47" fmla="*/ 735 h 735"/>
              <a:gd name="T48" fmla="*/ 472 w 1239"/>
              <a:gd name="T49" fmla="*/ 447 h 735"/>
              <a:gd name="T50" fmla="*/ 944 w 1239"/>
              <a:gd name="T51" fmla="*/ 447 h 735"/>
              <a:gd name="T52" fmla="*/ 1239 w 1239"/>
              <a:gd name="T53" fmla="*/ 447 h 735"/>
              <a:gd name="T54" fmla="*/ 1239 w 1239"/>
              <a:gd name="T55" fmla="*/ 735 h 735"/>
              <a:gd name="T56" fmla="*/ 944 w 1239"/>
              <a:gd name="T57" fmla="*/ 735 h 735"/>
              <a:gd name="T58" fmla="*/ 944 w 1239"/>
              <a:gd name="T59" fmla="*/ 447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9" h="735">
                <a:moveTo>
                  <a:pt x="0" y="0"/>
                </a:moveTo>
                <a:lnTo>
                  <a:pt x="295" y="0"/>
                </a:lnTo>
                <a:lnTo>
                  <a:pt x="295" y="288"/>
                </a:lnTo>
                <a:lnTo>
                  <a:pt x="0" y="288"/>
                </a:lnTo>
                <a:lnTo>
                  <a:pt x="0" y="0"/>
                </a:lnTo>
                <a:close/>
                <a:moveTo>
                  <a:pt x="472" y="0"/>
                </a:moveTo>
                <a:lnTo>
                  <a:pt x="767" y="0"/>
                </a:lnTo>
                <a:lnTo>
                  <a:pt x="767" y="288"/>
                </a:lnTo>
                <a:lnTo>
                  <a:pt x="472" y="288"/>
                </a:lnTo>
                <a:lnTo>
                  <a:pt x="472" y="0"/>
                </a:lnTo>
                <a:close/>
                <a:moveTo>
                  <a:pt x="944" y="0"/>
                </a:moveTo>
                <a:lnTo>
                  <a:pt x="1239" y="0"/>
                </a:lnTo>
                <a:lnTo>
                  <a:pt x="1239" y="288"/>
                </a:lnTo>
                <a:lnTo>
                  <a:pt x="944" y="288"/>
                </a:lnTo>
                <a:lnTo>
                  <a:pt x="944" y="0"/>
                </a:lnTo>
                <a:close/>
                <a:moveTo>
                  <a:pt x="0" y="447"/>
                </a:moveTo>
                <a:lnTo>
                  <a:pt x="295" y="447"/>
                </a:lnTo>
                <a:lnTo>
                  <a:pt x="295" y="735"/>
                </a:lnTo>
                <a:lnTo>
                  <a:pt x="0" y="735"/>
                </a:lnTo>
                <a:lnTo>
                  <a:pt x="0" y="447"/>
                </a:lnTo>
                <a:close/>
                <a:moveTo>
                  <a:pt x="472" y="447"/>
                </a:moveTo>
                <a:lnTo>
                  <a:pt x="767" y="447"/>
                </a:lnTo>
                <a:lnTo>
                  <a:pt x="767" y="735"/>
                </a:lnTo>
                <a:lnTo>
                  <a:pt x="472" y="735"/>
                </a:lnTo>
                <a:lnTo>
                  <a:pt x="472" y="447"/>
                </a:lnTo>
                <a:close/>
                <a:moveTo>
                  <a:pt x="944" y="447"/>
                </a:moveTo>
                <a:lnTo>
                  <a:pt x="1239" y="447"/>
                </a:lnTo>
                <a:lnTo>
                  <a:pt x="1239" y="735"/>
                </a:lnTo>
                <a:lnTo>
                  <a:pt x="944" y="735"/>
                </a:lnTo>
                <a:lnTo>
                  <a:pt x="944" y="447"/>
                </a:lnTo>
                <a:close/>
              </a:path>
            </a:pathLst>
          </a:cu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90" name="Line 12">
            <a:extLst>
              <a:ext uri="{FF2B5EF4-FFF2-40B4-BE49-F238E27FC236}">
                <a16:creationId xmlns:a16="http://schemas.microsoft.com/office/drawing/2014/main" id="{018F1B47-1E79-439E-9A5B-A18813576F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95735" y="5697812"/>
            <a:ext cx="1382788" cy="0"/>
          </a:xfrm>
          <a:prstGeom prst="line">
            <a:avLst/>
          </a:pr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91" name="Rectangle 57">
            <a:extLst>
              <a:ext uri="{FF2B5EF4-FFF2-40B4-BE49-F238E27FC236}">
                <a16:creationId xmlns:a16="http://schemas.microsoft.com/office/drawing/2014/main" id="{995B1EE2-BBBD-4826-8F9C-98E33C6021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9379" y="5425103"/>
            <a:ext cx="64" cy="169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3395"/>
            <a:endParaRPr lang="en-US" altLang="de-DE" sz="1099">
              <a:solidFill>
                <a:srgbClr val="000000"/>
              </a:solidFill>
            </a:endParaRP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574C1593-05DA-4868-BC9E-B0ABC97B10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711" y="5019827"/>
            <a:ext cx="701918" cy="675018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5DBC205C-B9A1-442E-A5F3-C4E84E9B6A13}"/>
              </a:ext>
            </a:extLst>
          </p:cNvPr>
          <p:cNvGrpSpPr/>
          <p:nvPr/>
        </p:nvGrpSpPr>
        <p:grpSpPr>
          <a:xfrm>
            <a:off x="10059470" y="4402648"/>
            <a:ext cx="1431930" cy="1286028"/>
            <a:chOff x="10212941" y="4370516"/>
            <a:chExt cx="1555285" cy="1453880"/>
          </a:xfrm>
        </p:grpSpPr>
        <p:grpSp>
          <p:nvGrpSpPr>
            <p:cNvPr id="301" name="Gruppieren 319">
              <a:extLst>
                <a:ext uri="{FF2B5EF4-FFF2-40B4-BE49-F238E27FC236}">
                  <a16:creationId xmlns:a16="http://schemas.microsoft.com/office/drawing/2014/main" id="{07D86227-DF1D-468B-9C29-487471C97251}"/>
                </a:ext>
              </a:extLst>
            </p:cNvPr>
            <p:cNvGrpSpPr/>
            <p:nvPr/>
          </p:nvGrpSpPr>
          <p:grpSpPr>
            <a:xfrm>
              <a:off x="10266319" y="4584409"/>
              <a:ext cx="1501907" cy="1239987"/>
              <a:chOff x="10463131" y="4130463"/>
              <a:chExt cx="924070" cy="989993"/>
            </a:xfrm>
          </p:grpSpPr>
          <p:sp>
            <p:nvSpPr>
              <p:cNvPr id="304" name="Rectangle 9">
                <a:hlinkClick r:id="" action="ppaction://noaction"/>
                <a:extLst>
                  <a:ext uri="{FF2B5EF4-FFF2-40B4-BE49-F238E27FC236}">
                    <a16:creationId xmlns:a16="http://schemas.microsoft.com/office/drawing/2014/main" id="{25EF1091-3E62-4C88-8F99-00B3789C6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5092" y="4143490"/>
                <a:ext cx="817953" cy="974972"/>
              </a:xfrm>
              <a:prstGeom prst="rect">
                <a:avLst/>
              </a:prstGeom>
              <a:solidFill>
                <a:srgbClr val="F2F2F2"/>
              </a:solidFill>
              <a:ln w="1289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52979" tIns="26490" rIns="52979" bIns="26490" numCol="1" anchor="t" anchorCtr="0" compatLnSpc="1">
                <a:prstTxWarp prst="textNoShape">
                  <a:avLst/>
                </a:prstTxWarp>
              </a:bodyPr>
              <a:lstStyle/>
              <a:p>
                <a:pPr defTabSz="1087578"/>
                <a:endParaRPr lang="en-US" sz="10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3" name="Rectangle 5">
                <a:extLst>
                  <a:ext uri="{FF2B5EF4-FFF2-40B4-BE49-F238E27FC236}">
                    <a16:creationId xmlns:a16="http://schemas.microsoft.com/office/drawing/2014/main" id="{6D8E9EFD-A53A-4C15-81E1-8869276F96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1073" y="4130463"/>
                <a:ext cx="821973" cy="306873"/>
              </a:xfrm>
              <a:prstGeom prst="rect">
                <a:avLst/>
              </a:prstGeom>
              <a:solidFill>
                <a:srgbClr val="0FAAFF"/>
              </a:solidFill>
              <a:ln w="1289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none" lIns="52979" tIns="26490" rIns="52979" bIns="2649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087578"/>
                <a:r>
                  <a:rPr lang="en-US" sz="1099" b="1">
                    <a:solidFill>
                      <a:schemeClr val="bg1"/>
                    </a:solidFill>
                  </a:rPr>
                  <a:t>Autonomous </a:t>
                </a:r>
              </a:p>
              <a:p>
                <a:pPr algn="ctr" defTabSz="1087578"/>
                <a:r>
                  <a:rPr lang="en-US" sz="1099" b="1">
                    <a:solidFill>
                      <a:schemeClr val="bg1"/>
                    </a:solidFill>
                  </a:rPr>
                  <a:t>Divisions</a:t>
                </a:r>
              </a:p>
            </p:txBody>
          </p:sp>
          <p:sp>
            <p:nvSpPr>
              <p:cNvPr id="305" name="Freeform 11">
                <a:extLst>
                  <a:ext uri="{FF2B5EF4-FFF2-40B4-BE49-F238E27FC236}">
                    <a16:creationId xmlns:a16="http://schemas.microsoft.com/office/drawing/2014/main" id="{109EDD62-ABEC-4555-9D42-9F7DE8602D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66189" y="4551592"/>
                <a:ext cx="517953" cy="306875"/>
              </a:xfrm>
              <a:custGeom>
                <a:avLst/>
                <a:gdLst>
                  <a:gd name="T0" fmla="*/ 0 w 1239"/>
                  <a:gd name="T1" fmla="*/ 0 h 735"/>
                  <a:gd name="T2" fmla="*/ 295 w 1239"/>
                  <a:gd name="T3" fmla="*/ 0 h 735"/>
                  <a:gd name="T4" fmla="*/ 295 w 1239"/>
                  <a:gd name="T5" fmla="*/ 288 h 735"/>
                  <a:gd name="T6" fmla="*/ 0 w 1239"/>
                  <a:gd name="T7" fmla="*/ 288 h 735"/>
                  <a:gd name="T8" fmla="*/ 0 w 1239"/>
                  <a:gd name="T9" fmla="*/ 0 h 735"/>
                  <a:gd name="T10" fmla="*/ 472 w 1239"/>
                  <a:gd name="T11" fmla="*/ 0 h 735"/>
                  <a:gd name="T12" fmla="*/ 767 w 1239"/>
                  <a:gd name="T13" fmla="*/ 0 h 735"/>
                  <a:gd name="T14" fmla="*/ 767 w 1239"/>
                  <a:gd name="T15" fmla="*/ 288 h 735"/>
                  <a:gd name="T16" fmla="*/ 472 w 1239"/>
                  <a:gd name="T17" fmla="*/ 288 h 735"/>
                  <a:gd name="T18" fmla="*/ 472 w 1239"/>
                  <a:gd name="T19" fmla="*/ 0 h 735"/>
                  <a:gd name="T20" fmla="*/ 944 w 1239"/>
                  <a:gd name="T21" fmla="*/ 0 h 735"/>
                  <a:gd name="T22" fmla="*/ 1239 w 1239"/>
                  <a:gd name="T23" fmla="*/ 0 h 735"/>
                  <a:gd name="T24" fmla="*/ 1239 w 1239"/>
                  <a:gd name="T25" fmla="*/ 288 h 735"/>
                  <a:gd name="T26" fmla="*/ 944 w 1239"/>
                  <a:gd name="T27" fmla="*/ 288 h 735"/>
                  <a:gd name="T28" fmla="*/ 944 w 1239"/>
                  <a:gd name="T29" fmla="*/ 0 h 735"/>
                  <a:gd name="T30" fmla="*/ 0 w 1239"/>
                  <a:gd name="T31" fmla="*/ 447 h 735"/>
                  <a:gd name="T32" fmla="*/ 295 w 1239"/>
                  <a:gd name="T33" fmla="*/ 447 h 735"/>
                  <a:gd name="T34" fmla="*/ 295 w 1239"/>
                  <a:gd name="T35" fmla="*/ 735 h 735"/>
                  <a:gd name="T36" fmla="*/ 0 w 1239"/>
                  <a:gd name="T37" fmla="*/ 735 h 735"/>
                  <a:gd name="T38" fmla="*/ 0 w 1239"/>
                  <a:gd name="T39" fmla="*/ 447 h 735"/>
                  <a:gd name="T40" fmla="*/ 472 w 1239"/>
                  <a:gd name="T41" fmla="*/ 447 h 735"/>
                  <a:gd name="T42" fmla="*/ 767 w 1239"/>
                  <a:gd name="T43" fmla="*/ 447 h 735"/>
                  <a:gd name="T44" fmla="*/ 767 w 1239"/>
                  <a:gd name="T45" fmla="*/ 735 h 735"/>
                  <a:gd name="T46" fmla="*/ 472 w 1239"/>
                  <a:gd name="T47" fmla="*/ 735 h 735"/>
                  <a:gd name="T48" fmla="*/ 472 w 1239"/>
                  <a:gd name="T49" fmla="*/ 447 h 735"/>
                  <a:gd name="T50" fmla="*/ 944 w 1239"/>
                  <a:gd name="T51" fmla="*/ 447 h 735"/>
                  <a:gd name="T52" fmla="*/ 1239 w 1239"/>
                  <a:gd name="T53" fmla="*/ 447 h 735"/>
                  <a:gd name="T54" fmla="*/ 1239 w 1239"/>
                  <a:gd name="T55" fmla="*/ 735 h 735"/>
                  <a:gd name="T56" fmla="*/ 944 w 1239"/>
                  <a:gd name="T57" fmla="*/ 735 h 735"/>
                  <a:gd name="T58" fmla="*/ 944 w 1239"/>
                  <a:gd name="T59" fmla="*/ 447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39" h="735">
                    <a:moveTo>
                      <a:pt x="0" y="0"/>
                    </a:moveTo>
                    <a:lnTo>
                      <a:pt x="295" y="0"/>
                    </a:lnTo>
                    <a:lnTo>
                      <a:pt x="295" y="288"/>
                    </a:lnTo>
                    <a:lnTo>
                      <a:pt x="0" y="288"/>
                    </a:lnTo>
                    <a:lnTo>
                      <a:pt x="0" y="0"/>
                    </a:lnTo>
                    <a:close/>
                    <a:moveTo>
                      <a:pt x="472" y="0"/>
                    </a:moveTo>
                    <a:lnTo>
                      <a:pt x="767" y="0"/>
                    </a:lnTo>
                    <a:lnTo>
                      <a:pt x="767" y="288"/>
                    </a:lnTo>
                    <a:lnTo>
                      <a:pt x="472" y="288"/>
                    </a:lnTo>
                    <a:lnTo>
                      <a:pt x="472" y="0"/>
                    </a:lnTo>
                    <a:close/>
                    <a:moveTo>
                      <a:pt x="944" y="0"/>
                    </a:moveTo>
                    <a:lnTo>
                      <a:pt x="1239" y="0"/>
                    </a:lnTo>
                    <a:lnTo>
                      <a:pt x="1239" y="288"/>
                    </a:lnTo>
                    <a:lnTo>
                      <a:pt x="944" y="288"/>
                    </a:lnTo>
                    <a:lnTo>
                      <a:pt x="944" y="0"/>
                    </a:lnTo>
                    <a:close/>
                    <a:moveTo>
                      <a:pt x="0" y="447"/>
                    </a:moveTo>
                    <a:lnTo>
                      <a:pt x="295" y="447"/>
                    </a:lnTo>
                    <a:lnTo>
                      <a:pt x="295" y="735"/>
                    </a:lnTo>
                    <a:lnTo>
                      <a:pt x="0" y="735"/>
                    </a:lnTo>
                    <a:lnTo>
                      <a:pt x="0" y="447"/>
                    </a:lnTo>
                    <a:close/>
                    <a:moveTo>
                      <a:pt x="472" y="447"/>
                    </a:moveTo>
                    <a:lnTo>
                      <a:pt x="767" y="447"/>
                    </a:lnTo>
                    <a:lnTo>
                      <a:pt x="767" y="735"/>
                    </a:lnTo>
                    <a:lnTo>
                      <a:pt x="472" y="735"/>
                    </a:lnTo>
                    <a:lnTo>
                      <a:pt x="472" y="447"/>
                    </a:lnTo>
                    <a:close/>
                    <a:moveTo>
                      <a:pt x="944" y="447"/>
                    </a:moveTo>
                    <a:lnTo>
                      <a:pt x="1239" y="447"/>
                    </a:lnTo>
                    <a:lnTo>
                      <a:pt x="1239" y="735"/>
                    </a:lnTo>
                    <a:lnTo>
                      <a:pt x="944" y="735"/>
                    </a:lnTo>
                    <a:lnTo>
                      <a:pt x="944" y="447"/>
                    </a:lnTo>
                    <a:close/>
                  </a:path>
                </a:pathLst>
              </a:custGeom>
              <a:noFill/>
              <a:ln w="1289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52979" tIns="26490" rIns="52979" bIns="26490" numCol="1" anchor="t" anchorCtr="0" compatLnSpc="1">
                <a:prstTxWarp prst="textNoShape">
                  <a:avLst/>
                </a:prstTxWarp>
              </a:bodyPr>
              <a:lstStyle/>
              <a:p>
                <a:pPr defTabSz="1087578"/>
                <a:endParaRPr lang="en-US" sz="10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Line 12">
                <a:extLst>
                  <a:ext uri="{FF2B5EF4-FFF2-40B4-BE49-F238E27FC236}">
                    <a16:creationId xmlns:a16="http://schemas.microsoft.com/office/drawing/2014/main" id="{9BEC4EA9-7C80-43A5-AE5B-F445E8480B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463131" y="5120456"/>
                <a:ext cx="924070" cy="0"/>
              </a:xfrm>
              <a:prstGeom prst="line">
                <a:avLst/>
              </a:prstGeom>
              <a:noFill/>
              <a:ln w="1289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52979" tIns="26490" rIns="52979" bIns="26490" numCol="1" anchor="t" anchorCtr="0" compatLnSpc="1">
                <a:prstTxWarp prst="textNoShape">
                  <a:avLst/>
                </a:prstTxWarp>
              </a:bodyPr>
              <a:lstStyle/>
              <a:p>
                <a:pPr defTabSz="1087578"/>
                <a:endParaRPr lang="en-US" sz="10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7" name="Rectangle 57">
                <a:extLst>
                  <a:ext uri="{FF2B5EF4-FFF2-40B4-BE49-F238E27FC236}">
                    <a16:creationId xmlns:a16="http://schemas.microsoft.com/office/drawing/2014/main" id="{C02CFCBB-7718-40A6-8615-9469AB540E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46478" y="4882557"/>
                <a:ext cx="43" cy="152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3395"/>
                <a:endParaRPr lang="en-US" altLang="de-DE" sz="1099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226" name="Picture 225">
              <a:extLst>
                <a:ext uri="{FF2B5EF4-FFF2-40B4-BE49-F238E27FC236}">
                  <a16:creationId xmlns:a16="http://schemas.microsoft.com/office/drawing/2014/main" id="{0BFB1861-29BE-43A0-9F70-2BB30AF03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12941" y="5055068"/>
              <a:ext cx="751101" cy="765976"/>
            </a:xfrm>
            <a:prstGeom prst="rect">
              <a:avLst/>
            </a:prstGeom>
            <a:solidFill>
              <a:srgbClr val="F2F2F2"/>
            </a:solidFill>
            <a:ln w="12700">
              <a:solidFill>
                <a:schemeClr val="tx1"/>
              </a:solidFill>
            </a:ln>
          </p:spPr>
        </p:pic>
        <p:grpSp>
          <p:nvGrpSpPr>
            <p:cNvPr id="327" name="Group 326">
              <a:extLst>
                <a:ext uri="{FF2B5EF4-FFF2-40B4-BE49-F238E27FC236}">
                  <a16:creationId xmlns:a16="http://schemas.microsoft.com/office/drawing/2014/main" id="{1076516B-1D6A-4CB5-AD70-5459B1834D9C}"/>
                </a:ext>
              </a:extLst>
            </p:cNvPr>
            <p:cNvGrpSpPr/>
            <p:nvPr/>
          </p:nvGrpSpPr>
          <p:grpSpPr>
            <a:xfrm>
              <a:off x="10765502" y="4370516"/>
              <a:ext cx="273921" cy="267734"/>
              <a:chOff x="8704289" y="3499234"/>
              <a:chExt cx="273921" cy="267734"/>
            </a:xfrm>
          </p:grpSpPr>
          <p:sp>
            <p:nvSpPr>
              <p:cNvPr id="328" name="Ellipse 343">
                <a:extLst>
                  <a:ext uri="{FF2B5EF4-FFF2-40B4-BE49-F238E27FC236}">
                    <a16:creationId xmlns:a16="http://schemas.microsoft.com/office/drawing/2014/main" id="{6489458E-7555-498B-AF0D-629E1B328804}"/>
                  </a:ext>
                </a:extLst>
              </p:cNvPr>
              <p:cNvSpPr/>
              <p:nvPr/>
            </p:nvSpPr>
            <p:spPr bwMode="gray">
              <a:xfrm>
                <a:off x="8704289" y="3499234"/>
                <a:ext cx="273921" cy="267734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907" tIns="71925" rIns="89907" bIns="71925" rtlCol="0" anchor="ctr"/>
              <a:lstStyle/>
              <a:p>
                <a:pPr algn="ctr" defTabSz="913395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endParaRPr lang="en-US" sz="10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329" name="Ellipse 344">
                <a:extLst>
                  <a:ext uri="{FF2B5EF4-FFF2-40B4-BE49-F238E27FC236}">
                    <a16:creationId xmlns:a16="http://schemas.microsoft.com/office/drawing/2014/main" id="{DDE15133-D9DC-4EA4-A5AA-9113E809E099}"/>
                  </a:ext>
                </a:extLst>
              </p:cNvPr>
              <p:cNvSpPr/>
              <p:nvPr/>
            </p:nvSpPr>
            <p:spPr bwMode="gray">
              <a:xfrm>
                <a:off x="8798550" y="3591366"/>
                <a:ext cx="85400" cy="83471"/>
              </a:xfrm>
              <a:prstGeom prst="ellipse">
                <a:avLst/>
              </a:prstGeom>
              <a:solidFill>
                <a:schemeClr val="tx1"/>
              </a:solidFill>
              <a:ln w="1270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907" tIns="71925" rIns="89907" bIns="71925" rtlCol="0" anchor="ctr"/>
              <a:lstStyle/>
              <a:p>
                <a:pPr algn="ctr" defTabSz="913395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</a:pPr>
                <a:endParaRPr lang="en-US" sz="1099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sp>
        <p:nvSpPr>
          <p:cNvPr id="28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CC7F8B18-6097-4152-8F6D-41324AD95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1041" y="4573693"/>
            <a:ext cx="1100997" cy="1111453"/>
          </a:xfrm>
          <a:prstGeom prst="rect">
            <a:avLst/>
          </a:prstGeom>
          <a:solidFill>
            <a:srgbClr val="F2F2F2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81" name="Freeform 11">
            <a:extLst>
              <a:ext uri="{FF2B5EF4-FFF2-40B4-BE49-F238E27FC236}">
                <a16:creationId xmlns:a16="http://schemas.microsoft.com/office/drawing/2014/main" id="{0F7CD6EB-6303-4331-A184-8A94064563D6}"/>
              </a:ext>
            </a:extLst>
          </p:cNvPr>
          <p:cNvSpPr>
            <a:spLocks noEditPoints="1"/>
          </p:cNvSpPr>
          <p:nvPr/>
        </p:nvSpPr>
        <p:spPr bwMode="auto">
          <a:xfrm>
            <a:off x="4674006" y="5045753"/>
            <a:ext cx="775069" cy="339991"/>
          </a:xfrm>
          <a:custGeom>
            <a:avLst/>
            <a:gdLst>
              <a:gd name="T0" fmla="*/ 0 w 1239"/>
              <a:gd name="T1" fmla="*/ 0 h 735"/>
              <a:gd name="T2" fmla="*/ 295 w 1239"/>
              <a:gd name="T3" fmla="*/ 0 h 735"/>
              <a:gd name="T4" fmla="*/ 295 w 1239"/>
              <a:gd name="T5" fmla="*/ 288 h 735"/>
              <a:gd name="T6" fmla="*/ 0 w 1239"/>
              <a:gd name="T7" fmla="*/ 288 h 735"/>
              <a:gd name="T8" fmla="*/ 0 w 1239"/>
              <a:gd name="T9" fmla="*/ 0 h 735"/>
              <a:gd name="T10" fmla="*/ 472 w 1239"/>
              <a:gd name="T11" fmla="*/ 0 h 735"/>
              <a:gd name="T12" fmla="*/ 767 w 1239"/>
              <a:gd name="T13" fmla="*/ 0 h 735"/>
              <a:gd name="T14" fmla="*/ 767 w 1239"/>
              <a:gd name="T15" fmla="*/ 288 h 735"/>
              <a:gd name="T16" fmla="*/ 472 w 1239"/>
              <a:gd name="T17" fmla="*/ 288 h 735"/>
              <a:gd name="T18" fmla="*/ 472 w 1239"/>
              <a:gd name="T19" fmla="*/ 0 h 735"/>
              <a:gd name="T20" fmla="*/ 944 w 1239"/>
              <a:gd name="T21" fmla="*/ 0 h 735"/>
              <a:gd name="T22" fmla="*/ 1239 w 1239"/>
              <a:gd name="T23" fmla="*/ 0 h 735"/>
              <a:gd name="T24" fmla="*/ 1239 w 1239"/>
              <a:gd name="T25" fmla="*/ 288 h 735"/>
              <a:gd name="T26" fmla="*/ 944 w 1239"/>
              <a:gd name="T27" fmla="*/ 288 h 735"/>
              <a:gd name="T28" fmla="*/ 944 w 1239"/>
              <a:gd name="T29" fmla="*/ 0 h 735"/>
              <a:gd name="T30" fmla="*/ 0 w 1239"/>
              <a:gd name="T31" fmla="*/ 447 h 735"/>
              <a:gd name="T32" fmla="*/ 295 w 1239"/>
              <a:gd name="T33" fmla="*/ 447 h 735"/>
              <a:gd name="T34" fmla="*/ 295 w 1239"/>
              <a:gd name="T35" fmla="*/ 735 h 735"/>
              <a:gd name="T36" fmla="*/ 0 w 1239"/>
              <a:gd name="T37" fmla="*/ 735 h 735"/>
              <a:gd name="T38" fmla="*/ 0 w 1239"/>
              <a:gd name="T39" fmla="*/ 447 h 735"/>
              <a:gd name="T40" fmla="*/ 472 w 1239"/>
              <a:gd name="T41" fmla="*/ 447 h 735"/>
              <a:gd name="T42" fmla="*/ 767 w 1239"/>
              <a:gd name="T43" fmla="*/ 447 h 735"/>
              <a:gd name="T44" fmla="*/ 767 w 1239"/>
              <a:gd name="T45" fmla="*/ 735 h 735"/>
              <a:gd name="T46" fmla="*/ 472 w 1239"/>
              <a:gd name="T47" fmla="*/ 735 h 735"/>
              <a:gd name="T48" fmla="*/ 472 w 1239"/>
              <a:gd name="T49" fmla="*/ 447 h 735"/>
              <a:gd name="T50" fmla="*/ 944 w 1239"/>
              <a:gd name="T51" fmla="*/ 447 h 735"/>
              <a:gd name="T52" fmla="*/ 1239 w 1239"/>
              <a:gd name="T53" fmla="*/ 447 h 735"/>
              <a:gd name="T54" fmla="*/ 1239 w 1239"/>
              <a:gd name="T55" fmla="*/ 735 h 735"/>
              <a:gd name="T56" fmla="*/ 944 w 1239"/>
              <a:gd name="T57" fmla="*/ 735 h 735"/>
              <a:gd name="T58" fmla="*/ 944 w 1239"/>
              <a:gd name="T59" fmla="*/ 447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39" h="735">
                <a:moveTo>
                  <a:pt x="0" y="0"/>
                </a:moveTo>
                <a:lnTo>
                  <a:pt x="295" y="0"/>
                </a:lnTo>
                <a:lnTo>
                  <a:pt x="295" y="288"/>
                </a:lnTo>
                <a:lnTo>
                  <a:pt x="0" y="288"/>
                </a:lnTo>
                <a:lnTo>
                  <a:pt x="0" y="0"/>
                </a:lnTo>
                <a:close/>
                <a:moveTo>
                  <a:pt x="472" y="0"/>
                </a:moveTo>
                <a:lnTo>
                  <a:pt x="767" y="0"/>
                </a:lnTo>
                <a:lnTo>
                  <a:pt x="767" y="288"/>
                </a:lnTo>
                <a:lnTo>
                  <a:pt x="472" y="288"/>
                </a:lnTo>
                <a:lnTo>
                  <a:pt x="472" y="0"/>
                </a:lnTo>
                <a:close/>
                <a:moveTo>
                  <a:pt x="944" y="0"/>
                </a:moveTo>
                <a:lnTo>
                  <a:pt x="1239" y="0"/>
                </a:lnTo>
                <a:lnTo>
                  <a:pt x="1239" y="288"/>
                </a:lnTo>
                <a:lnTo>
                  <a:pt x="944" y="288"/>
                </a:lnTo>
                <a:lnTo>
                  <a:pt x="944" y="0"/>
                </a:lnTo>
                <a:close/>
                <a:moveTo>
                  <a:pt x="0" y="447"/>
                </a:moveTo>
                <a:lnTo>
                  <a:pt x="295" y="447"/>
                </a:lnTo>
                <a:lnTo>
                  <a:pt x="295" y="735"/>
                </a:lnTo>
                <a:lnTo>
                  <a:pt x="0" y="735"/>
                </a:lnTo>
                <a:lnTo>
                  <a:pt x="0" y="447"/>
                </a:lnTo>
                <a:close/>
                <a:moveTo>
                  <a:pt x="472" y="447"/>
                </a:moveTo>
                <a:lnTo>
                  <a:pt x="767" y="447"/>
                </a:lnTo>
                <a:lnTo>
                  <a:pt x="767" y="735"/>
                </a:lnTo>
                <a:lnTo>
                  <a:pt x="472" y="735"/>
                </a:lnTo>
                <a:lnTo>
                  <a:pt x="472" y="447"/>
                </a:lnTo>
                <a:close/>
                <a:moveTo>
                  <a:pt x="944" y="447"/>
                </a:moveTo>
                <a:lnTo>
                  <a:pt x="1239" y="447"/>
                </a:lnTo>
                <a:lnTo>
                  <a:pt x="1239" y="735"/>
                </a:lnTo>
                <a:lnTo>
                  <a:pt x="944" y="735"/>
                </a:lnTo>
                <a:lnTo>
                  <a:pt x="944" y="447"/>
                </a:lnTo>
                <a:close/>
              </a:path>
            </a:pathLst>
          </a:cu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82" name="Line 12">
            <a:extLst>
              <a:ext uri="{FF2B5EF4-FFF2-40B4-BE49-F238E27FC236}">
                <a16:creationId xmlns:a16="http://schemas.microsoft.com/office/drawing/2014/main" id="{DF42550D-BE7B-4D72-BE0F-0EBB75088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0148" y="5685145"/>
            <a:ext cx="1382787" cy="0"/>
          </a:xfrm>
          <a:prstGeom prst="line">
            <a:avLst/>
          </a:prstGeom>
          <a:noFill/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283" name="Rectangle 57">
            <a:extLst>
              <a:ext uri="{FF2B5EF4-FFF2-40B4-BE49-F238E27FC236}">
                <a16:creationId xmlns:a16="http://schemas.microsoft.com/office/drawing/2014/main" id="{91ABA5B6-6C15-440A-8F58-ADBFADA38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3791" y="5412435"/>
            <a:ext cx="64" cy="169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3395"/>
            <a:endParaRPr lang="en-US" altLang="de-DE" sz="1099">
              <a:solidFill>
                <a:srgbClr val="000000"/>
              </a:solidFill>
            </a:endParaRPr>
          </a:p>
        </p:txBody>
      </p:sp>
      <p:pic>
        <p:nvPicPr>
          <p:cNvPr id="218" name="Picture 217">
            <a:extLst>
              <a:ext uri="{FF2B5EF4-FFF2-40B4-BE49-F238E27FC236}">
                <a16:creationId xmlns:a16="http://schemas.microsoft.com/office/drawing/2014/main" id="{7A2F3303-E514-4861-A827-B5DFE6A465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469" y="5233621"/>
            <a:ext cx="471263" cy="452764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pic>
        <p:nvPicPr>
          <p:cNvPr id="308" name="Picture 307">
            <a:extLst>
              <a:ext uri="{FF2B5EF4-FFF2-40B4-BE49-F238E27FC236}">
                <a16:creationId xmlns:a16="http://schemas.microsoft.com/office/drawing/2014/main" id="{936B7E62-E39D-4136-AAA7-E4D7B6B6ED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572" y="5186272"/>
            <a:ext cx="522151" cy="501656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96DBF826-9643-4E9E-AAF4-A2801C30B9B0}"/>
              </a:ext>
            </a:extLst>
          </p:cNvPr>
          <p:cNvCxnSpPr>
            <a:cxnSpLocks/>
          </p:cNvCxnSpPr>
          <p:nvPr/>
        </p:nvCxnSpPr>
        <p:spPr>
          <a:xfrm flipH="1" flipV="1">
            <a:off x="3117799" y="3973090"/>
            <a:ext cx="4267" cy="39636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274218F-535C-41F5-A939-92B254DCC9FF}"/>
              </a:ext>
            </a:extLst>
          </p:cNvPr>
          <p:cNvCxnSpPr>
            <a:cxnSpLocks/>
            <a:stCxn id="328" idx="0"/>
          </p:cNvCxnSpPr>
          <p:nvPr/>
        </p:nvCxnSpPr>
        <p:spPr>
          <a:xfrm flipV="1">
            <a:off x="10694304" y="3973090"/>
            <a:ext cx="0" cy="429557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Rectangle 5">
            <a:extLst>
              <a:ext uri="{FF2B5EF4-FFF2-40B4-BE49-F238E27FC236}">
                <a16:creationId xmlns:a16="http://schemas.microsoft.com/office/drawing/2014/main" id="{946DE7F1-E741-4346-AEB0-E92BEAE670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4333" y="4580064"/>
            <a:ext cx="1100997" cy="339990"/>
          </a:xfrm>
          <a:prstGeom prst="rect">
            <a:avLst/>
          </a:prstGeom>
          <a:solidFill>
            <a:srgbClr val="0FAAFF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none" lIns="52979" tIns="26490" rIns="52979" bIns="26490" numCol="1" anchor="ctr" anchorCtr="0" compatLnSpc="1">
            <a:prstTxWarp prst="textNoShape">
              <a:avLst/>
            </a:prstTxWarp>
          </a:bodyPr>
          <a:lstStyle/>
          <a:p>
            <a:pPr algn="ctr" defTabSz="1087578"/>
            <a:r>
              <a:rPr lang="en-US" sz="1099" b="1">
                <a:solidFill>
                  <a:schemeClr val="bg1"/>
                </a:solidFill>
              </a:rPr>
              <a:t>Incubations</a:t>
            </a:r>
          </a:p>
        </p:txBody>
      </p:sp>
      <p:sp>
        <p:nvSpPr>
          <p:cNvPr id="287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CD6FC170-69ED-47BF-8293-6248159D8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6632" y="4574177"/>
            <a:ext cx="1100998" cy="339990"/>
          </a:xfrm>
          <a:prstGeom prst="rect">
            <a:avLst/>
          </a:prstGeom>
          <a:solidFill>
            <a:srgbClr val="0FAAFF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none" lIns="52979" tIns="26490" rIns="52979" bIns="26490" numCol="1" anchor="ctr" anchorCtr="0" compatLnSpc="1">
            <a:prstTxWarp prst="textNoShape">
              <a:avLst/>
            </a:prstTxWarp>
          </a:bodyPr>
          <a:lstStyle/>
          <a:p>
            <a:pPr algn="ctr" defTabSz="1087578"/>
            <a:r>
              <a:rPr lang="en-US" sz="1099" b="1">
                <a:solidFill>
                  <a:schemeClr val="bg1"/>
                </a:solidFill>
              </a:rPr>
              <a:t>Divestitures</a:t>
            </a:r>
          </a:p>
        </p:txBody>
      </p:sp>
      <p:sp>
        <p:nvSpPr>
          <p:cNvPr id="279" name="Rectangle 5">
            <a:extLst>
              <a:ext uri="{FF2B5EF4-FFF2-40B4-BE49-F238E27FC236}">
                <a16:creationId xmlns:a16="http://schemas.microsoft.com/office/drawing/2014/main" id="{BB24E5F8-8EAA-4860-B24B-96F683654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1042" y="4561511"/>
            <a:ext cx="1100997" cy="339989"/>
          </a:xfrm>
          <a:prstGeom prst="rect">
            <a:avLst/>
          </a:prstGeom>
          <a:solidFill>
            <a:srgbClr val="0FAAFF"/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none" lIns="52979" tIns="26490" rIns="52979" bIns="26490" numCol="1" anchor="ctr" anchorCtr="0" compatLnSpc="1">
            <a:prstTxWarp prst="textNoShape">
              <a:avLst/>
            </a:prstTxWarp>
          </a:bodyPr>
          <a:lstStyle/>
          <a:p>
            <a:pPr algn="ctr" defTabSz="1087578"/>
            <a:r>
              <a:rPr lang="en-US" sz="1099" b="1">
                <a:solidFill>
                  <a:schemeClr val="bg1"/>
                </a:solidFill>
              </a:rPr>
              <a:t>Subsidiaries</a:t>
            </a:r>
          </a:p>
        </p:txBody>
      </p: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2D648223-DF8A-4018-AAD4-51A76B229B26}"/>
              </a:ext>
            </a:extLst>
          </p:cNvPr>
          <p:cNvGrpSpPr/>
          <p:nvPr/>
        </p:nvGrpSpPr>
        <p:grpSpPr>
          <a:xfrm>
            <a:off x="8653592" y="4408645"/>
            <a:ext cx="252196" cy="236824"/>
            <a:chOff x="8704289" y="3499234"/>
            <a:chExt cx="273921" cy="267734"/>
          </a:xfrm>
        </p:grpSpPr>
        <p:sp>
          <p:nvSpPr>
            <p:cNvPr id="322" name="Ellipse 343">
              <a:extLst>
                <a:ext uri="{FF2B5EF4-FFF2-40B4-BE49-F238E27FC236}">
                  <a16:creationId xmlns:a16="http://schemas.microsoft.com/office/drawing/2014/main" id="{63094C66-1FD1-429A-83E8-E55E96F40E5D}"/>
                </a:ext>
              </a:extLst>
            </p:cNvPr>
            <p:cNvSpPr/>
            <p:nvPr/>
          </p:nvSpPr>
          <p:spPr bwMode="gray">
            <a:xfrm>
              <a:off x="8704289" y="3499234"/>
              <a:ext cx="273921" cy="267734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23" name="Ellipse 344">
              <a:extLst>
                <a:ext uri="{FF2B5EF4-FFF2-40B4-BE49-F238E27FC236}">
                  <a16:creationId xmlns:a16="http://schemas.microsoft.com/office/drawing/2014/main" id="{4E438DCC-9C8A-4919-908E-4BBE2753B344}"/>
                </a:ext>
              </a:extLst>
            </p:cNvPr>
            <p:cNvSpPr/>
            <p:nvPr/>
          </p:nvSpPr>
          <p:spPr bwMode="gray">
            <a:xfrm>
              <a:off x="8798550" y="3591366"/>
              <a:ext cx="85400" cy="83471"/>
            </a:xfrm>
            <a:prstGeom prst="ellipse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1D42B363-70FD-482C-8E30-691A3A5F1E48}"/>
              </a:ext>
            </a:extLst>
          </p:cNvPr>
          <p:cNvGrpSpPr/>
          <p:nvPr/>
        </p:nvGrpSpPr>
        <p:grpSpPr>
          <a:xfrm>
            <a:off x="6832836" y="4386141"/>
            <a:ext cx="252196" cy="236824"/>
            <a:chOff x="8704289" y="3499234"/>
            <a:chExt cx="273921" cy="267734"/>
          </a:xfrm>
        </p:grpSpPr>
        <p:sp>
          <p:nvSpPr>
            <p:cNvPr id="325" name="Ellipse 343">
              <a:extLst>
                <a:ext uri="{FF2B5EF4-FFF2-40B4-BE49-F238E27FC236}">
                  <a16:creationId xmlns:a16="http://schemas.microsoft.com/office/drawing/2014/main" id="{456347C3-1AEE-460C-AF0D-C3FDF47D59C7}"/>
                </a:ext>
              </a:extLst>
            </p:cNvPr>
            <p:cNvSpPr/>
            <p:nvPr/>
          </p:nvSpPr>
          <p:spPr bwMode="gray">
            <a:xfrm>
              <a:off x="8704289" y="3499234"/>
              <a:ext cx="273921" cy="267734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26" name="Ellipse 344">
              <a:extLst>
                <a:ext uri="{FF2B5EF4-FFF2-40B4-BE49-F238E27FC236}">
                  <a16:creationId xmlns:a16="http://schemas.microsoft.com/office/drawing/2014/main" id="{E0EA320D-169B-4658-A3A9-422E8AF3717F}"/>
                </a:ext>
              </a:extLst>
            </p:cNvPr>
            <p:cNvSpPr/>
            <p:nvPr/>
          </p:nvSpPr>
          <p:spPr bwMode="gray">
            <a:xfrm>
              <a:off x="8798550" y="3591366"/>
              <a:ext cx="85400" cy="83471"/>
            </a:xfrm>
            <a:prstGeom prst="ellipse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318" name="Group 317">
            <a:extLst>
              <a:ext uri="{FF2B5EF4-FFF2-40B4-BE49-F238E27FC236}">
                <a16:creationId xmlns:a16="http://schemas.microsoft.com/office/drawing/2014/main" id="{8D1EDF66-98BA-42E4-8F67-A506B1AAD4C6}"/>
              </a:ext>
            </a:extLst>
          </p:cNvPr>
          <p:cNvGrpSpPr/>
          <p:nvPr/>
        </p:nvGrpSpPr>
        <p:grpSpPr>
          <a:xfrm>
            <a:off x="4951754" y="4377139"/>
            <a:ext cx="252196" cy="236824"/>
            <a:chOff x="8704289" y="3499234"/>
            <a:chExt cx="273921" cy="267734"/>
          </a:xfrm>
        </p:grpSpPr>
        <p:sp>
          <p:nvSpPr>
            <p:cNvPr id="319" name="Ellipse 343">
              <a:extLst>
                <a:ext uri="{FF2B5EF4-FFF2-40B4-BE49-F238E27FC236}">
                  <a16:creationId xmlns:a16="http://schemas.microsoft.com/office/drawing/2014/main" id="{092FE433-9C24-4C81-B9C9-ACE2C00938D7}"/>
                </a:ext>
              </a:extLst>
            </p:cNvPr>
            <p:cNvSpPr/>
            <p:nvPr/>
          </p:nvSpPr>
          <p:spPr bwMode="gray">
            <a:xfrm>
              <a:off x="8704289" y="3499234"/>
              <a:ext cx="273921" cy="267734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20" name="Ellipse 344">
              <a:extLst>
                <a:ext uri="{FF2B5EF4-FFF2-40B4-BE49-F238E27FC236}">
                  <a16:creationId xmlns:a16="http://schemas.microsoft.com/office/drawing/2014/main" id="{E7129150-D664-44A4-B8F9-C1290A632983}"/>
                </a:ext>
              </a:extLst>
            </p:cNvPr>
            <p:cNvSpPr/>
            <p:nvPr/>
          </p:nvSpPr>
          <p:spPr bwMode="gray">
            <a:xfrm>
              <a:off x="8798550" y="3591366"/>
              <a:ext cx="85400" cy="83471"/>
            </a:xfrm>
            <a:prstGeom prst="ellipse">
              <a:avLst/>
            </a:prstGeom>
            <a:solidFill>
              <a:schemeClr val="tx1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89907" tIns="71925" rIns="89907" bIns="71925" rtlCol="0" anchor="ctr"/>
            <a:lstStyle/>
            <a:p>
              <a:pPr algn="ctr" defTabSz="913395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099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D86164-69E3-4F46-BE18-6CC449FB7B48}"/>
              </a:ext>
            </a:extLst>
          </p:cNvPr>
          <p:cNvCxnSpPr>
            <a:cxnSpLocks/>
            <a:stCxn id="319" idx="0"/>
          </p:cNvCxnSpPr>
          <p:nvPr/>
        </p:nvCxnSpPr>
        <p:spPr>
          <a:xfrm flipV="1">
            <a:off x="5077851" y="3974220"/>
            <a:ext cx="0" cy="40291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7D95807F-3E45-4A4B-A0B7-6C65CB8907E1}"/>
              </a:ext>
            </a:extLst>
          </p:cNvPr>
          <p:cNvCxnSpPr>
            <a:cxnSpLocks/>
            <a:endCxn id="115" idx="4"/>
          </p:cNvCxnSpPr>
          <p:nvPr/>
        </p:nvCxnSpPr>
        <p:spPr>
          <a:xfrm flipV="1">
            <a:off x="6942556" y="3556353"/>
            <a:ext cx="0" cy="813102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297DA7C-888E-4529-AD74-EECB6B9EC666}"/>
              </a:ext>
            </a:extLst>
          </p:cNvPr>
          <p:cNvCxnSpPr>
            <a:cxnSpLocks/>
            <a:stCxn id="322" idx="0"/>
          </p:cNvCxnSpPr>
          <p:nvPr/>
        </p:nvCxnSpPr>
        <p:spPr>
          <a:xfrm flipV="1">
            <a:off x="8779689" y="3973089"/>
            <a:ext cx="0" cy="435555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EF0C1FF2-B933-4950-9327-4B3568A4CD6F}"/>
              </a:ext>
            </a:extLst>
          </p:cNvPr>
          <p:cNvCxnSpPr>
            <a:cxnSpLocks/>
          </p:cNvCxnSpPr>
          <p:nvPr/>
        </p:nvCxnSpPr>
        <p:spPr>
          <a:xfrm flipH="1">
            <a:off x="5077850" y="3974218"/>
            <a:ext cx="3701838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31BA08C6-B8CE-47D6-A930-85007858B9C6}"/>
              </a:ext>
            </a:extLst>
          </p:cNvPr>
          <p:cNvCxnSpPr>
            <a:cxnSpLocks/>
          </p:cNvCxnSpPr>
          <p:nvPr/>
        </p:nvCxnSpPr>
        <p:spPr>
          <a:xfrm flipH="1">
            <a:off x="3117797" y="3974218"/>
            <a:ext cx="7576506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28">
            <a:extLst>
              <a:ext uri="{FF2B5EF4-FFF2-40B4-BE49-F238E27FC236}">
                <a16:creationId xmlns:a16="http://schemas.microsoft.com/office/drawing/2014/main" id="{2D224E96-BA9F-4396-A666-249D17105E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8631" y="2170220"/>
            <a:ext cx="1676700" cy="13104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98" name="Rectangle 15">
            <a:extLst>
              <a:ext uri="{FF2B5EF4-FFF2-40B4-BE49-F238E27FC236}">
                <a16:creationId xmlns:a16="http://schemas.microsoft.com/office/drawing/2014/main" id="{648CE70E-A4AA-4ABC-B881-9D414F4B5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193" y="2709753"/>
            <a:ext cx="653136" cy="128577"/>
          </a:xfrm>
          <a:custGeom>
            <a:avLst/>
            <a:gdLst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  <a:gd name="connsiteX4" fmla="*/ 0 w 472789"/>
              <a:gd name="connsiteY4" fmla="*/ 0 h 110631"/>
              <a:gd name="connsiteX0" fmla="*/ 609 w 473398"/>
              <a:gd name="connsiteY0" fmla="*/ 0 h 110631"/>
              <a:gd name="connsiteX1" fmla="*/ 473398 w 473398"/>
              <a:gd name="connsiteY1" fmla="*/ 0 h 110631"/>
              <a:gd name="connsiteX2" fmla="*/ 473398 w 473398"/>
              <a:gd name="connsiteY2" fmla="*/ 110631 h 110631"/>
              <a:gd name="connsiteX3" fmla="*/ 609 w 473398"/>
              <a:gd name="connsiteY3" fmla="*/ 110631 h 110631"/>
              <a:gd name="connsiteX4" fmla="*/ 0 w 473398"/>
              <a:gd name="connsiteY4" fmla="*/ 43000 h 110631"/>
              <a:gd name="connsiteX5" fmla="*/ 609 w 473398"/>
              <a:gd name="connsiteY5" fmla="*/ 0 h 110631"/>
              <a:gd name="connsiteX0" fmla="*/ 0 w 473398"/>
              <a:gd name="connsiteY0" fmla="*/ 43000 h 134440"/>
              <a:gd name="connsiteX1" fmla="*/ 609 w 473398"/>
              <a:gd name="connsiteY1" fmla="*/ 0 h 134440"/>
              <a:gd name="connsiteX2" fmla="*/ 473398 w 473398"/>
              <a:gd name="connsiteY2" fmla="*/ 0 h 134440"/>
              <a:gd name="connsiteX3" fmla="*/ 473398 w 473398"/>
              <a:gd name="connsiteY3" fmla="*/ 110631 h 134440"/>
              <a:gd name="connsiteX4" fmla="*/ 609 w 473398"/>
              <a:gd name="connsiteY4" fmla="*/ 110631 h 134440"/>
              <a:gd name="connsiteX5" fmla="*/ 91440 w 473398"/>
              <a:gd name="connsiteY5" fmla="*/ 134440 h 134440"/>
              <a:gd name="connsiteX0" fmla="*/ 0 w 473398"/>
              <a:gd name="connsiteY0" fmla="*/ 43000 h 110631"/>
              <a:gd name="connsiteX1" fmla="*/ 609 w 473398"/>
              <a:gd name="connsiteY1" fmla="*/ 0 h 110631"/>
              <a:gd name="connsiteX2" fmla="*/ 473398 w 473398"/>
              <a:gd name="connsiteY2" fmla="*/ 0 h 110631"/>
              <a:gd name="connsiteX3" fmla="*/ 473398 w 473398"/>
              <a:gd name="connsiteY3" fmla="*/ 110631 h 110631"/>
              <a:gd name="connsiteX4" fmla="*/ 609 w 473398"/>
              <a:gd name="connsiteY4" fmla="*/ 110631 h 110631"/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789" h="110631">
                <a:moveTo>
                  <a:pt x="0" y="0"/>
                </a:moveTo>
                <a:lnTo>
                  <a:pt x="472789" y="0"/>
                </a:lnTo>
                <a:lnTo>
                  <a:pt x="472789" y="110631"/>
                </a:lnTo>
                <a:lnTo>
                  <a:pt x="0" y="110631"/>
                </a:lnTo>
              </a:path>
            </a:pathLst>
          </a:custGeom>
          <a:noFill/>
          <a:ln w="1289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99" name="Rectangle 15">
            <a:extLst>
              <a:ext uri="{FF2B5EF4-FFF2-40B4-BE49-F238E27FC236}">
                <a16:creationId xmlns:a16="http://schemas.microsoft.com/office/drawing/2014/main" id="{173ECEC5-42E7-4D7E-8D16-ADF09B249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193" y="2953422"/>
            <a:ext cx="653136" cy="128577"/>
          </a:xfrm>
          <a:custGeom>
            <a:avLst/>
            <a:gdLst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  <a:gd name="connsiteX4" fmla="*/ 0 w 472789"/>
              <a:gd name="connsiteY4" fmla="*/ 0 h 110631"/>
              <a:gd name="connsiteX0" fmla="*/ 609 w 473398"/>
              <a:gd name="connsiteY0" fmla="*/ 0 h 110631"/>
              <a:gd name="connsiteX1" fmla="*/ 473398 w 473398"/>
              <a:gd name="connsiteY1" fmla="*/ 0 h 110631"/>
              <a:gd name="connsiteX2" fmla="*/ 473398 w 473398"/>
              <a:gd name="connsiteY2" fmla="*/ 110631 h 110631"/>
              <a:gd name="connsiteX3" fmla="*/ 609 w 473398"/>
              <a:gd name="connsiteY3" fmla="*/ 110631 h 110631"/>
              <a:gd name="connsiteX4" fmla="*/ 0 w 473398"/>
              <a:gd name="connsiteY4" fmla="*/ 43000 h 110631"/>
              <a:gd name="connsiteX5" fmla="*/ 609 w 473398"/>
              <a:gd name="connsiteY5" fmla="*/ 0 h 110631"/>
              <a:gd name="connsiteX0" fmla="*/ 0 w 473398"/>
              <a:gd name="connsiteY0" fmla="*/ 43000 h 134440"/>
              <a:gd name="connsiteX1" fmla="*/ 609 w 473398"/>
              <a:gd name="connsiteY1" fmla="*/ 0 h 134440"/>
              <a:gd name="connsiteX2" fmla="*/ 473398 w 473398"/>
              <a:gd name="connsiteY2" fmla="*/ 0 h 134440"/>
              <a:gd name="connsiteX3" fmla="*/ 473398 w 473398"/>
              <a:gd name="connsiteY3" fmla="*/ 110631 h 134440"/>
              <a:gd name="connsiteX4" fmla="*/ 609 w 473398"/>
              <a:gd name="connsiteY4" fmla="*/ 110631 h 134440"/>
              <a:gd name="connsiteX5" fmla="*/ 91440 w 473398"/>
              <a:gd name="connsiteY5" fmla="*/ 134440 h 134440"/>
              <a:gd name="connsiteX0" fmla="*/ 0 w 473398"/>
              <a:gd name="connsiteY0" fmla="*/ 43000 h 110631"/>
              <a:gd name="connsiteX1" fmla="*/ 609 w 473398"/>
              <a:gd name="connsiteY1" fmla="*/ 0 h 110631"/>
              <a:gd name="connsiteX2" fmla="*/ 473398 w 473398"/>
              <a:gd name="connsiteY2" fmla="*/ 0 h 110631"/>
              <a:gd name="connsiteX3" fmla="*/ 473398 w 473398"/>
              <a:gd name="connsiteY3" fmla="*/ 110631 h 110631"/>
              <a:gd name="connsiteX4" fmla="*/ 609 w 473398"/>
              <a:gd name="connsiteY4" fmla="*/ 110631 h 110631"/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789" h="110631">
                <a:moveTo>
                  <a:pt x="0" y="0"/>
                </a:moveTo>
                <a:lnTo>
                  <a:pt x="472789" y="0"/>
                </a:lnTo>
                <a:lnTo>
                  <a:pt x="472789" y="110631"/>
                </a:lnTo>
                <a:lnTo>
                  <a:pt x="0" y="110631"/>
                </a:lnTo>
              </a:path>
            </a:pathLst>
          </a:custGeom>
          <a:noFill/>
          <a:ln w="1289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100" name="Rectangle 15">
            <a:extLst>
              <a:ext uri="{FF2B5EF4-FFF2-40B4-BE49-F238E27FC236}">
                <a16:creationId xmlns:a16="http://schemas.microsoft.com/office/drawing/2014/main" id="{4A969E68-2A72-43A0-9FAF-0AD6CDA5F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2193" y="3211296"/>
            <a:ext cx="653136" cy="128577"/>
          </a:xfrm>
          <a:custGeom>
            <a:avLst/>
            <a:gdLst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  <a:gd name="connsiteX4" fmla="*/ 0 w 472789"/>
              <a:gd name="connsiteY4" fmla="*/ 0 h 110631"/>
              <a:gd name="connsiteX0" fmla="*/ 609 w 473398"/>
              <a:gd name="connsiteY0" fmla="*/ 0 h 110631"/>
              <a:gd name="connsiteX1" fmla="*/ 473398 w 473398"/>
              <a:gd name="connsiteY1" fmla="*/ 0 h 110631"/>
              <a:gd name="connsiteX2" fmla="*/ 473398 w 473398"/>
              <a:gd name="connsiteY2" fmla="*/ 110631 h 110631"/>
              <a:gd name="connsiteX3" fmla="*/ 609 w 473398"/>
              <a:gd name="connsiteY3" fmla="*/ 110631 h 110631"/>
              <a:gd name="connsiteX4" fmla="*/ 0 w 473398"/>
              <a:gd name="connsiteY4" fmla="*/ 43000 h 110631"/>
              <a:gd name="connsiteX5" fmla="*/ 609 w 473398"/>
              <a:gd name="connsiteY5" fmla="*/ 0 h 110631"/>
              <a:gd name="connsiteX0" fmla="*/ 0 w 473398"/>
              <a:gd name="connsiteY0" fmla="*/ 43000 h 134440"/>
              <a:gd name="connsiteX1" fmla="*/ 609 w 473398"/>
              <a:gd name="connsiteY1" fmla="*/ 0 h 134440"/>
              <a:gd name="connsiteX2" fmla="*/ 473398 w 473398"/>
              <a:gd name="connsiteY2" fmla="*/ 0 h 134440"/>
              <a:gd name="connsiteX3" fmla="*/ 473398 w 473398"/>
              <a:gd name="connsiteY3" fmla="*/ 110631 h 134440"/>
              <a:gd name="connsiteX4" fmla="*/ 609 w 473398"/>
              <a:gd name="connsiteY4" fmla="*/ 110631 h 134440"/>
              <a:gd name="connsiteX5" fmla="*/ 91440 w 473398"/>
              <a:gd name="connsiteY5" fmla="*/ 134440 h 134440"/>
              <a:gd name="connsiteX0" fmla="*/ 0 w 473398"/>
              <a:gd name="connsiteY0" fmla="*/ 43000 h 110631"/>
              <a:gd name="connsiteX1" fmla="*/ 609 w 473398"/>
              <a:gd name="connsiteY1" fmla="*/ 0 h 110631"/>
              <a:gd name="connsiteX2" fmla="*/ 473398 w 473398"/>
              <a:gd name="connsiteY2" fmla="*/ 0 h 110631"/>
              <a:gd name="connsiteX3" fmla="*/ 473398 w 473398"/>
              <a:gd name="connsiteY3" fmla="*/ 110631 h 110631"/>
              <a:gd name="connsiteX4" fmla="*/ 609 w 473398"/>
              <a:gd name="connsiteY4" fmla="*/ 110631 h 110631"/>
              <a:gd name="connsiteX0" fmla="*/ 0 w 472789"/>
              <a:gd name="connsiteY0" fmla="*/ 0 h 110631"/>
              <a:gd name="connsiteX1" fmla="*/ 472789 w 472789"/>
              <a:gd name="connsiteY1" fmla="*/ 0 h 110631"/>
              <a:gd name="connsiteX2" fmla="*/ 472789 w 472789"/>
              <a:gd name="connsiteY2" fmla="*/ 110631 h 110631"/>
              <a:gd name="connsiteX3" fmla="*/ 0 w 472789"/>
              <a:gd name="connsiteY3" fmla="*/ 110631 h 11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789" h="110631">
                <a:moveTo>
                  <a:pt x="0" y="0"/>
                </a:moveTo>
                <a:lnTo>
                  <a:pt x="472789" y="0"/>
                </a:lnTo>
                <a:lnTo>
                  <a:pt x="472789" y="110631"/>
                </a:lnTo>
                <a:lnTo>
                  <a:pt x="0" y="110631"/>
                </a:lnTo>
              </a:path>
            </a:pathLst>
          </a:custGeom>
          <a:noFill/>
          <a:ln w="12890" cap="rnd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52979" tIns="26490" rIns="52979" bIns="26490" numCol="1" anchor="t" anchorCtr="0" compatLnSpc="1">
            <a:prstTxWarp prst="textNoShape">
              <a:avLst/>
            </a:prstTxWarp>
          </a:bodyPr>
          <a:lstStyle/>
          <a:p>
            <a:pPr defTabSz="1087578"/>
            <a:endParaRPr lang="en-US" sz="1099">
              <a:solidFill>
                <a:srgbClr val="000000"/>
              </a:solidFill>
            </a:endParaRPr>
          </a:p>
        </p:txBody>
      </p:sp>
      <p:sp>
        <p:nvSpPr>
          <p:cNvPr id="102" name="Rectangle 95">
            <a:hlinkClick r:id="" action="ppaction://noaction"/>
            <a:extLst>
              <a:ext uri="{FF2B5EF4-FFF2-40B4-BE49-F238E27FC236}">
                <a16:creationId xmlns:a16="http://schemas.microsoft.com/office/drawing/2014/main" id="{F7D6CB00-2551-435C-BE04-81F4BCDF9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8628" y="2164160"/>
            <a:ext cx="1676700" cy="333578"/>
          </a:xfrm>
          <a:prstGeom prst="rect">
            <a:avLst/>
          </a:prstGeom>
          <a:solidFill>
            <a:schemeClr val="bg2">
              <a:lumMod val="50000"/>
            </a:schemeClr>
          </a:solidFill>
          <a:ln w="12890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none" lIns="52979" tIns="26490" rIns="52979" bIns="26490" numCol="1" anchor="ctr" anchorCtr="0" compatLnSpc="1">
            <a:prstTxWarp prst="textNoShape">
              <a:avLst/>
            </a:prstTxWarp>
          </a:bodyPr>
          <a:lstStyle/>
          <a:p>
            <a:pPr algn="ctr" defTabSz="1087578"/>
            <a:r>
              <a:rPr lang="en-US" sz="1099" b="1">
                <a:solidFill>
                  <a:schemeClr val="bg1"/>
                </a:solidFill>
              </a:rPr>
              <a:t>HQ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F99C0E-57D5-480A-95F1-25FCA7979B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86643" y="2600649"/>
            <a:ext cx="952407" cy="942012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sp>
        <p:nvSpPr>
          <p:cNvPr id="115" name="Ellipse 343">
            <a:extLst>
              <a:ext uri="{FF2B5EF4-FFF2-40B4-BE49-F238E27FC236}">
                <a16:creationId xmlns:a16="http://schemas.microsoft.com/office/drawing/2014/main" id="{D0A39E7D-0E34-47AC-8938-0F8F9B7704CD}"/>
              </a:ext>
            </a:extLst>
          </p:cNvPr>
          <p:cNvSpPr/>
          <p:nvPr/>
        </p:nvSpPr>
        <p:spPr bwMode="gray">
          <a:xfrm>
            <a:off x="6813927" y="3325962"/>
            <a:ext cx="257261" cy="230391"/>
          </a:xfrm>
          <a:prstGeom prst="ellipse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9907" tIns="71925" rIns="89907" bIns="71925" rtlCol="0" anchor="ctr"/>
          <a:lstStyle/>
          <a:p>
            <a:pPr algn="ctr" defTabSz="91339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0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6" name="Ellipse 344">
            <a:extLst>
              <a:ext uri="{FF2B5EF4-FFF2-40B4-BE49-F238E27FC236}">
                <a16:creationId xmlns:a16="http://schemas.microsoft.com/office/drawing/2014/main" id="{0F4F48C7-21A3-4E8E-BB27-76F73C10CC3C}"/>
              </a:ext>
            </a:extLst>
          </p:cNvPr>
          <p:cNvSpPr/>
          <p:nvPr/>
        </p:nvSpPr>
        <p:spPr bwMode="gray">
          <a:xfrm>
            <a:off x="6902452" y="3410565"/>
            <a:ext cx="80206" cy="71829"/>
          </a:xfrm>
          <a:prstGeom prst="ellipse">
            <a:avLst/>
          </a:prstGeom>
          <a:solidFill>
            <a:schemeClr val="tx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89907" tIns="71925" rIns="89907" bIns="71925" rtlCol="0" anchor="ctr"/>
          <a:lstStyle/>
          <a:p>
            <a:pPr algn="ctr" defTabSz="91339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099" ker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309" name="Picture 308">
            <a:extLst>
              <a:ext uri="{FF2B5EF4-FFF2-40B4-BE49-F238E27FC236}">
                <a16:creationId xmlns:a16="http://schemas.microsoft.com/office/drawing/2014/main" id="{6528DFE0-8339-4367-952A-4EE5475700B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290" y="5142335"/>
            <a:ext cx="567883" cy="545593"/>
          </a:xfrm>
          <a:prstGeom prst="rect">
            <a:avLst/>
          </a:prstGeom>
          <a:solidFill>
            <a:srgbClr val="F2F2F2"/>
          </a:solidFill>
          <a:ln w="12700">
            <a:solidFill>
              <a:schemeClr val="tx1"/>
            </a:solidFill>
          </a:ln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8782FA5C-1307-408A-B86A-208E5FB420A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16521" y="546022"/>
            <a:ext cx="9134379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1088558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>
                <a:latin typeface="+mn-lt"/>
              </a:defRPr>
            </a:lvl1pPr>
            <a:lvl2pPr marL="179964" lvl="1" indent="-179964" defTabSz="1088558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2pPr>
            <a:lvl3pPr marL="358775" lvl="2" indent="-179388" defTabSz="1088558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noProof="0" dirty="0" smtClean="0">
                <a:latin typeface="+mn-lt"/>
              </a:defRPr>
            </a:lvl3pPr>
            <a:lvl4pPr marL="539892" lvl="3" indent="-179964" defTabSz="1088558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19856" lvl="4" indent="-179964" defTabSz="1088558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>
                <a:latin typeface="+mn-lt"/>
              </a:defRPr>
            </a:lvl5pPr>
            <a:lvl6pPr marL="2993535" indent="-272140" defTabSz="1088558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7814" indent="-272140" defTabSz="1088558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82093" indent="-272140" defTabSz="1088558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26373" indent="-272140" defTabSz="1088558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pPr>
              <a:spcBef>
                <a:spcPts val="0"/>
              </a:spcBef>
            </a:pPr>
            <a:r>
              <a:rPr lang="en-US" b="1" dirty="0">
                <a:solidFill>
                  <a:srgbClr val="008FD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two-tier scenario?</a:t>
            </a:r>
          </a:p>
          <a:p>
            <a:pPr marL="285750" indent="-285750" fontAlgn="base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</a:rPr>
              <a:t>A composable ERP strategy with different ERP systems at two different layers of the organization</a:t>
            </a:r>
            <a:r>
              <a:rPr lang="en-GB" sz="1399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r>
              <a:rPr lang="en-US" sz="1399" dirty="0">
                <a:solidFill>
                  <a:srgbClr val="000000"/>
                </a:solidFill>
                <a:latin typeface="Arial" panose="020B0604020202020204" pitchFamily="34" charset="0"/>
              </a:rPr>
              <a:t>​</a:t>
            </a:r>
            <a:endParaRPr lang="en-US" sz="1399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marL="285750" indent="-285750" fontAlgn="base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</a:rPr>
              <a:t>One system serves a given function (e.g. HQ) as a stable backbone while the 2nd layer run on independent (often integrated) ERP system/s 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71" name="Arrow: Right 70">
            <a:extLst>
              <a:ext uri="{FF2B5EF4-FFF2-40B4-BE49-F238E27FC236}">
                <a16:creationId xmlns:a16="http://schemas.microsoft.com/office/drawing/2014/main" id="{9FF051A6-B3AF-45D9-BD08-EA86E169C74D}"/>
              </a:ext>
            </a:extLst>
          </p:cNvPr>
          <p:cNvSpPr/>
          <p:nvPr/>
        </p:nvSpPr>
        <p:spPr bwMode="gray">
          <a:xfrm>
            <a:off x="3832018" y="2362488"/>
            <a:ext cx="1798629" cy="1310445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98000">
                <a:schemeClr val="accent3">
                  <a:lumMod val="60000"/>
                  <a:lumOff val="40000"/>
                </a:schemeClr>
              </a:gs>
            </a:gsLst>
            <a:lin ang="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89953" tIns="71963" rIns="89953" bIns="71963" rtlCol="0" anchor="ctr"/>
          <a:lstStyle/>
          <a:p>
            <a:pPr algn="ctr" defTabSz="913943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59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TIER 1</a:t>
            </a:r>
          </a:p>
          <a:p>
            <a:pPr algn="ctr" defTabSz="913943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99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Stable Core</a:t>
            </a:r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7B2496E3-045B-4419-9748-85F91E538A9E}"/>
              </a:ext>
            </a:extLst>
          </p:cNvPr>
          <p:cNvSpPr/>
          <p:nvPr/>
        </p:nvSpPr>
        <p:spPr bwMode="gray">
          <a:xfrm>
            <a:off x="482104" y="4377138"/>
            <a:ext cx="1837365" cy="1206725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98000">
                <a:schemeClr val="accent3">
                  <a:lumMod val="60000"/>
                  <a:lumOff val="40000"/>
                </a:schemeClr>
              </a:gs>
            </a:gsLst>
            <a:lin ang="0" scaled="1"/>
            <a:tileRect/>
          </a:gradFill>
          <a:ln w="25400" algn="ctr">
            <a:noFill/>
            <a:miter lim="800000"/>
            <a:headEnd/>
            <a:tailEnd/>
          </a:ln>
        </p:spPr>
        <p:txBody>
          <a:bodyPr lIns="89953" tIns="71963" rIns="89953" bIns="71963" rtlCol="0" anchor="ctr"/>
          <a:lstStyle/>
          <a:p>
            <a:pPr algn="ctr" defTabSz="913943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59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TIER 2</a:t>
            </a:r>
          </a:p>
          <a:p>
            <a:pPr algn="ctr" defTabSz="913943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99" i="1">
                <a:solidFill>
                  <a:schemeClr val="bg1"/>
                </a:solidFill>
                <a:latin typeface="+mj-lt"/>
              </a:rPr>
              <a:t>Five distinct profi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5A6E087-CC12-6255-8F14-4C837DD1C2FD}"/>
              </a:ext>
            </a:extLst>
          </p:cNvPr>
          <p:cNvSpPr/>
          <p:nvPr/>
        </p:nvSpPr>
        <p:spPr>
          <a:xfrm>
            <a:off x="1341100" y="546022"/>
            <a:ext cx="9846441" cy="1280854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26872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3E437-E059-B44F-AC90-6808955B9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7993"/>
            <a:ext cx="9252588" cy="430663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efits from a 2-tier ERP mod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2D8662-67B4-5AA4-76C6-0F0A001736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561" y="1326389"/>
            <a:ext cx="1057534" cy="105753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2C2439-4958-5713-9FDD-7200D1F60B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488" y="1315717"/>
            <a:ext cx="1057534" cy="10575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F3D329D-03B1-798F-6853-C25F3B4724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579" y="1265400"/>
            <a:ext cx="1204844" cy="12048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BD07BDF-5A2B-6E69-F42A-3B862E45D1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5926" y="1295668"/>
            <a:ext cx="1244779" cy="1244779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4D4E49E-1620-00C4-C976-786582D59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887785"/>
              </p:ext>
            </p:extLst>
          </p:nvPr>
        </p:nvGraphicFramePr>
        <p:xfrm>
          <a:off x="152400" y="2707643"/>
          <a:ext cx="11694160" cy="20777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3540">
                  <a:extLst>
                    <a:ext uri="{9D8B030D-6E8A-4147-A177-3AD203B41FA5}">
                      <a16:colId xmlns:a16="http://schemas.microsoft.com/office/drawing/2014/main" val="987852120"/>
                    </a:ext>
                  </a:extLst>
                </a:gridCol>
                <a:gridCol w="2923540">
                  <a:extLst>
                    <a:ext uri="{9D8B030D-6E8A-4147-A177-3AD203B41FA5}">
                      <a16:colId xmlns:a16="http://schemas.microsoft.com/office/drawing/2014/main" val="3823507978"/>
                    </a:ext>
                  </a:extLst>
                </a:gridCol>
                <a:gridCol w="2923540">
                  <a:extLst>
                    <a:ext uri="{9D8B030D-6E8A-4147-A177-3AD203B41FA5}">
                      <a16:colId xmlns:a16="http://schemas.microsoft.com/office/drawing/2014/main" val="3677466427"/>
                    </a:ext>
                  </a:extLst>
                </a:gridCol>
                <a:gridCol w="2923540">
                  <a:extLst>
                    <a:ext uri="{9D8B030D-6E8A-4147-A177-3AD203B41FA5}">
                      <a16:colId xmlns:a16="http://schemas.microsoft.com/office/drawing/2014/main" val="2569323573"/>
                    </a:ext>
                  </a:extLst>
                </a:gridCol>
              </a:tblGrid>
              <a:tr h="370898"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ility</a:t>
                      </a:r>
                      <a:endParaRPr lang="en-US" sz="2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exibility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nomy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iance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597765"/>
                  </a:ext>
                </a:extLst>
              </a:tr>
              <a:tr h="1335060">
                <a:tc>
                  <a:txBody>
                    <a:bodyPr/>
                    <a:lstStyle/>
                    <a:p>
                      <a:pPr marL="233363" lvl="1" indent="-185738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ster Onboarding to reduce time to value </a:t>
                      </a:r>
                    </a:p>
                    <a:p>
                      <a:pPr marL="233363" lvl="1" indent="-185738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mated updates and patching</a:t>
                      </a:r>
                    </a:p>
                    <a:p>
                      <a:pPr marL="233363" lvl="1" indent="-185738" algn="l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sorb Innovations at a faster rate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novate with new business processes/models utilizing modern cloud technologies</a:t>
                      </a:r>
                    </a:p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exible commercial models without large upfront investment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endParaRPr lang="en-US" sz="1100" kern="1200" dirty="0">
                        <a:solidFill>
                          <a:srgbClr val="3C3C3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US" sz="1100" dirty="0"/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ed independence for the two-tier entity </a:t>
                      </a:r>
                    </a:p>
                    <a:p>
                      <a:pPr marL="233363" marR="0" lvl="1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olve, change and adapt at own pace</a:t>
                      </a:r>
                    </a:p>
                    <a:p>
                      <a:pPr marL="233363" marR="0" lvl="1" indent="-1857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er risks and disruptions to global/HQ landscape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O Certified Security</a:t>
                      </a:r>
                    </a:p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dress local legal requirements and changes </a:t>
                      </a:r>
                    </a:p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dependent legal structure supporting JVs</a:t>
                      </a:r>
                    </a:p>
                    <a:p>
                      <a:pPr marL="233363" lvl="1" indent="-185738" algn="l" defTabSz="914400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kern="1200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rve out independent installations for divestitures</a:t>
                      </a:r>
                    </a:p>
                  </a:txBody>
                  <a:tcPr marL="91416" marR="91416" marT="45708" marB="4570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134823"/>
                  </a:ext>
                </a:extLst>
              </a:tr>
            </a:tbl>
          </a:graphicData>
        </a:graphic>
      </p:graphicFrame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5082643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35BDA-13ED-8A4F-A464-7D7BA3513430}"/>
              </a:ext>
            </a:extLst>
          </p:cNvPr>
          <p:cNvSpPr txBox="1">
            <a:spLocks/>
          </p:cNvSpPr>
          <p:nvPr/>
        </p:nvSpPr>
        <p:spPr>
          <a:xfrm>
            <a:off x="119546" y="13804"/>
            <a:ext cx="10756744" cy="90120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FAFAAC-C329-3545-92FF-AD34DB084B28}"/>
              </a:ext>
            </a:extLst>
          </p:cNvPr>
          <p:cNvSpPr txBox="1"/>
          <p:nvPr/>
        </p:nvSpPr>
        <p:spPr>
          <a:xfrm>
            <a:off x="516710" y="1016608"/>
            <a:ext cx="106546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verview &amp; benefits of S/4HANA Cloud, Public Edition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pabilities &amp; key features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ployment mod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0DC707-61C6-4300-B22D-00239ACE4B3E}"/>
              </a:ext>
            </a:extLst>
          </p:cNvPr>
          <p:cNvSpPr/>
          <p:nvPr/>
        </p:nvSpPr>
        <p:spPr>
          <a:xfrm>
            <a:off x="350456" y="2634671"/>
            <a:ext cx="9975273" cy="76661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2164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0515600" cy="615553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P Activate – Deployment methodology</a:t>
            </a:r>
            <a:endParaRPr lang="de-DE" sz="2800" b="1" dirty="0">
              <a:solidFill>
                <a:srgbClr val="FF4E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F2F68B-851C-43E6-BAC8-9E7EC167C7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7361" y="1562980"/>
            <a:ext cx="5182935" cy="5182935"/>
          </a:xfrm>
          <a:prstGeom prst="rect">
            <a:avLst/>
          </a:prstGeom>
        </p:spPr>
      </p:pic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60DD3AE7-A985-4BB9-9DF3-6C9DD42B4002}"/>
              </a:ext>
            </a:extLst>
          </p:cNvPr>
          <p:cNvSpPr/>
          <p:nvPr/>
        </p:nvSpPr>
        <p:spPr bwMode="gray">
          <a:xfrm>
            <a:off x="888062" y="1035561"/>
            <a:ext cx="10204726" cy="720118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7460" tIns="53969" rIns="67460" bIns="53969" rtlCol="0" anchor="ctr"/>
          <a:lstStyle/>
          <a:p>
            <a:pPr algn="ctr" defTabSz="685348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b="1" dirty="0">
                <a:solidFill>
                  <a:srgbClr val="F0AB00"/>
                </a:solidFill>
                <a:latin typeface="Arial"/>
              </a:rPr>
              <a:t>Customers achieve fast and cost efficient deployment of SAP innovations </a:t>
            </a:r>
            <a:br>
              <a:rPr lang="en-US" b="1" dirty="0">
                <a:solidFill>
                  <a:srgbClr val="F0AB00"/>
                </a:solidFill>
                <a:latin typeface="Arial"/>
              </a:rPr>
            </a:br>
            <a:r>
              <a:rPr lang="en-US" b="1" dirty="0">
                <a:solidFill>
                  <a:srgbClr val="F0AB00"/>
                </a:solidFill>
                <a:latin typeface="Arial"/>
              </a:rPr>
              <a:t>with ONE simple, modular and agile methodology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3136EA6-321D-4656-8FDB-993F94099857}"/>
              </a:ext>
            </a:extLst>
          </p:cNvPr>
          <p:cNvSpPr txBox="1">
            <a:spLocks/>
          </p:cNvSpPr>
          <p:nvPr/>
        </p:nvSpPr>
        <p:spPr bwMode="gray">
          <a:xfrm>
            <a:off x="8734239" y="4055059"/>
            <a:ext cx="3481728" cy="28029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620"/>
              </a:spcBef>
              <a:buClr>
                <a:schemeClr val="accent1"/>
              </a:buClr>
              <a:buSzPct val="80000"/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00000"/>
              <a:buFont typeface="Wingdings" pitchFamily="2" charset="2"/>
              <a:buChar char="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0000" algn="l" defTabSz="914400" rtl="0" eaLnBrk="1" latinLnBrk="0" hangingPunct="1">
              <a:spcBef>
                <a:spcPts val="250"/>
              </a:spcBef>
              <a:buClr>
                <a:schemeClr val="accent2"/>
              </a:buClr>
              <a:buSzPct val="100000"/>
              <a:buFont typeface="Courier New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defRPr/>
            </a:pPr>
            <a:endParaRPr lang="en-US" sz="15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9E51BE-B1BF-4809-A3D7-BBDD17A6E125}"/>
              </a:ext>
            </a:extLst>
          </p:cNvPr>
          <p:cNvSpPr txBox="1"/>
          <p:nvPr/>
        </p:nvSpPr>
        <p:spPr>
          <a:xfrm>
            <a:off x="5339373" y="3410745"/>
            <a:ext cx="158287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49" fontAlgn="base">
              <a:spcBef>
                <a:spcPts val="45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400" b="1" kern="0" dirty="0">
                <a:solidFill>
                  <a:srgbClr val="008FD3"/>
                </a:solidFill>
                <a:latin typeface="BentonSans Bold" panose="02000803000000020004" pitchFamily="2" charset="0"/>
                <a:ea typeface="Arial Unicode MS" pitchFamily="34" charset="-128"/>
                <a:cs typeface="Arial Unicode MS" pitchFamily="34" charset="-128"/>
              </a:rPr>
              <a:t>SAP ACTIVATE</a:t>
            </a:r>
            <a:br>
              <a:rPr lang="en-US" sz="1400" b="1" kern="0" dirty="0">
                <a:solidFill>
                  <a:srgbClr val="008FD3"/>
                </a:solidFill>
                <a:latin typeface="BentonSans Bold" panose="02000803000000020004" pitchFamily="2" charset="0"/>
                <a:ea typeface="Arial Unicode MS" pitchFamily="34" charset="-128"/>
                <a:cs typeface="Arial Unicode MS" pitchFamily="34" charset="-128"/>
              </a:rPr>
            </a:br>
            <a:r>
              <a:rPr lang="en-US" sz="1400" b="1" kern="0" dirty="0">
                <a:solidFill>
                  <a:srgbClr val="008FD3"/>
                </a:solidFill>
                <a:latin typeface="BentonSans Bold" panose="02000803000000020004" pitchFamily="2" charset="0"/>
                <a:ea typeface="Arial Unicode MS" pitchFamily="34" charset="-128"/>
                <a:cs typeface="Arial Unicode MS" pitchFamily="34" charset="-128"/>
              </a:rPr>
              <a:t>Methodolog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339558-BC3D-4EB3-B05E-95ABB3B8C41E}"/>
              </a:ext>
            </a:extLst>
          </p:cNvPr>
          <p:cNvSpPr/>
          <p:nvPr/>
        </p:nvSpPr>
        <p:spPr>
          <a:xfrm>
            <a:off x="6130809" y="1966432"/>
            <a:ext cx="4108817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 delivery of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and time to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EEDE0E-45F0-457F-933E-165BCB1C8A63}"/>
              </a:ext>
            </a:extLst>
          </p:cNvPr>
          <p:cNvSpPr/>
          <p:nvPr/>
        </p:nvSpPr>
        <p:spPr>
          <a:xfrm>
            <a:off x="7708617" y="3156251"/>
            <a:ext cx="425567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ad coverage of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solutions</a:t>
            </a:r>
            <a:endParaRPr lang="en-US" sz="15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83D4E4-8411-44E5-9E0C-67BAD8F1BAAD}"/>
              </a:ext>
            </a:extLst>
          </p:cNvPr>
          <p:cNvSpPr/>
          <p:nvPr/>
        </p:nvSpPr>
        <p:spPr>
          <a:xfrm>
            <a:off x="735051" y="3133745"/>
            <a:ext cx="38016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upport for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implementation </a:t>
            </a: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-going business innov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6BD66D5-A1F7-44B7-AF29-4A58EDAE1755}"/>
              </a:ext>
            </a:extLst>
          </p:cNvPr>
          <p:cNvSpPr/>
          <p:nvPr/>
        </p:nvSpPr>
        <p:spPr>
          <a:xfrm>
            <a:off x="1027750" y="4278758"/>
            <a:ext cx="31657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d for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, on-premise, and hybrid deploy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1E5A71-CCF1-4D06-B2AD-7BFDFDF124BC}"/>
              </a:ext>
            </a:extLst>
          </p:cNvPr>
          <p:cNvSpPr/>
          <p:nvPr/>
        </p:nvSpPr>
        <p:spPr>
          <a:xfrm>
            <a:off x="7745270" y="4627543"/>
            <a:ext cx="375036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b="1" dirty="0">
                <a:solidFill>
                  <a:srgbClr val="000000"/>
                </a:solidFill>
              </a:rPr>
              <a:t>  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 </a:t>
            </a: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ccommodate today and future delivery approaches, including SAP partn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C2C559-40E6-4237-8A9A-B52C581735A1}"/>
              </a:ext>
            </a:extLst>
          </p:cNvPr>
          <p:cNvSpPr/>
          <p:nvPr/>
        </p:nvSpPr>
        <p:spPr>
          <a:xfrm>
            <a:off x="5868048" y="6121883"/>
            <a:ext cx="3530134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9946" lvl="2" indent="-179946" defTabSz="914126">
              <a:spcBef>
                <a:spcPts val="450"/>
              </a:spcBef>
              <a:buClr>
                <a:srgbClr val="F0AB00"/>
              </a:buClr>
              <a:buSzTx/>
              <a:buNone/>
              <a:defRPr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</a:t>
            </a:r>
            <a:r>
              <a:rPr lang="en-US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innovation </a:t>
            </a: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customers</a:t>
            </a:r>
          </a:p>
        </p:txBody>
      </p:sp>
    </p:spTree>
    <p:extLst>
      <p:ext uri="{BB962C8B-B14F-4D97-AF65-F5344CB8AC3E}">
        <p14:creationId xmlns:p14="http://schemas.microsoft.com/office/powerpoint/2010/main" val="263344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/>
          </p:nvPr>
        </p:nvSpPr>
        <p:spPr bwMode="gray">
          <a:xfrm>
            <a:off x="79775" y="71242"/>
            <a:ext cx="11183564" cy="430775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eaker introduc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0AFF0EE-FB80-B06B-51AE-3235ECD65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75" y="1619479"/>
            <a:ext cx="3425425" cy="306467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E9AFD4-0D3F-007D-CAD1-6627BBF5DED8}"/>
              </a:ext>
            </a:extLst>
          </p:cNvPr>
          <p:cNvSpPr/>
          <p:nvPr/>
        </p:nvSpPr>
        <p:spPr>
          <a:xfrm>
            <a:off x="220337" y="1389413"/>
            <a:ext cx="3182059" cy="3515096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A14A7-0BA2-2DB9-91D7-366585198179}"/>
              </a:ext>
            </a:extLst>
          </p:cNvPr>
          <p:cNvSpPr/>
          <p:nvPr/>
        </p:nvSpPr>
        <p:spPr>
          <a:xfrm>
            <a:off x="4476997" y="609394"/>
            <a:ext cx="7377154" cy="543815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356B235-851C-09AE-43DA-3635AFF19747}"/>
              </a:ext>
            </a:extLst>
          </p:cNvPr>
          <p:cNvSpPr txBox="1"/>
          <p:nvPr/>
        </p:nvSpPr>
        <p:spPr>
          <a:xfrm>
            <a:off x="4476997" y="609394"/>
            <a:ext cx="692995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years of SAP experience in a career of 29 years in a variety of roles including SAP product development, delivery/advisory/consulting, pre-sales, &amp; sales; currently work for the SAP S/4HANA Center of Excellence, North America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ed nearly 100 clients globally &amp; across multiple industry verticals including Public Sector, Utilities, Media, Manufacturing, Pharmaceuticals, Oil &amp; Gas, &amp; Hi-tech among other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s of expertise include SAP Financials, Logistics/Supply Chain, Reporting &amp; Analytics, Data Management &amp; Governance, Cloud technologies, User Experience, &amp; Project/Program Management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lific thought leader: Published over 100 articles &amp; white papers for SAP publications; written 5 SAP books; spoken at nearly 60 SAP conferences global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A42202-C67E-1ED3-C956-AD7936B8E64C}"/>
              </a:ext>
            </a:extLst>
          </p:cNvPr>
          <p:cNvSpPr txBox="1"/>
          <p:nvPr/>
        </p:nvSpPr>
        <p:spPr>
          <a:xfrm>
            <a:off x="4629397" y="761794"/>
            <a:ext cx="692995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Nearly 25 years of SAP experience in a career of 30 years in a variety of roles including SAP product development, delivery/advisory/consulting, pre-sales, &amp; sales; currently work for the SAP S/4HANA Center of Excellence, North America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erved clients globally &amp; across multiple industry verticals including Public Sector, Utilities, Media, Manufacturing, Pharmaceuticals, Oil &amp; Gas, &amp; Hi-tech among others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reas of expertise include SAP Financials, Logistics/Supply Chain, Reporting &amp; Analytics, Data Management &amp; Governance, Cloud technologies, User Experience, &amp; Project/Program Management 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lific thought leader: Published over 100 articles &amp; white papers for SAP publications; written 5 SAP books; spoken at over 150 SAP conferences &amp; </a:t>
            </a:r>
            <a:r>
              <a:rPr lang="en-US" sz="2000">
                <a:latin typeface="Arial" panose="020B0604020202020204" pitchFamily="34" charset="0"/>
                <a:cs typeface="Arial" panose="020B0604020202020204" pitchFamily="34" charset="0"/>
              </a:rPr>
              <a:t>events globally</a:t>
            </a:r>
            <a:r>
              <a:rPr lang="en-US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s; spoken at nearly 60 SAP conferences globall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779F447-5541-4B1E-3D6C-11A3D09438C9}"/>
              </a:ext>
            </a:extLst>
          </p:cNvPr>
          <p:cNvSpPr/>
          <p:nvPr/>
        </p:nvSpPr>
        <p:spPr>
          <a:xfrm>
            <a:off x="4629397" y="761794"/>
            <a:ext cx="7377154" cy="543815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445B10-7D99-1444-4CC1-AB9B61086F37}"/>
              </a:ext>
            </a:extLst>
          </p:cNvPr>
          <p:cNvSpPr/>
          <p:nvPr/>
        </p:nvSpPr>
        <p:spPr>
          <a:xfrm>
            <a:off x="4476997" y="609394"/>
            <a:ext cx="7529554" cy="5486812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EFF583-CFBA-706C-14A7-2C2BE939A471}"/>
              </a:ext>
            </a:extLst>
          </p:cNvPr>
          <p:cNvSpPr/>
          <p:nvPr/>
        </p:nvSpPr>
        <p:spPr>
          <a:xfrm>
            <a:off x="335280" y="1389413"/>
            <a:ext cx="3067116" cy="3426427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0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0" y="38679"/>
            <a:ext cx="11183563" cy="645867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ablers for SAP Activate</a:t>
            </a:r>
            <a:br>
              <a:rPr lang="en-US" dirty="0"/>
            </a:br>
            <a:endParaRPr lang="en-US" sz="1798" dirty="0">
              <a:solidFill>
                <a:schemeClr val="accent1"/>
              </a:solidFill>
            </a:endParaRPr>
          </a:p>
        </p:txBody>
      </p:sp>
      <p:sp>
        <p:nvSpPr>
          <p:cNvPr id="47" name="Text Placeholder 2"/>
          <p:cNvSpPr txBox="1">
            <a:spLocks/>
          </p:cNvSpPr>
          <p:nvPr/>
        </p:nvSpPr>
        <p:spPr>
          <a:xfrm>
            <a:off x="8167809" y="4202756"/>
            <a:ext cx="3785662" cy="197069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/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4558F"/>
              </a:buClr>
              <a:defRPr/>
            </a:pPr>
            <a:r>
              <a:rPr lang="en-US" sz="1798" b="1">
                <a:solidFill>
                  <a:srgbClr val="0C0C0C"/>
                </a:solidFill>
                <a:latin typeface="Arial"/>
              </a:rPr>
              <a:t>SAP Activate Community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Engage SAP Activate experts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Ask questions and collaborate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Stay up to date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Follow the community at </a:t>
            </a:r>
            <a:r>
              <a:rPr lang="en-US" sz="1399">
                <a:solidFill>
                  <a:srgbClr val="0C0C0C"/>
                </a:solidFill>
                <a:latin typeface="Arial"/>
                <a:hlinkClick r:id="rId3"/>
              </a:rPr>
              <a:t>https://community.sap.com/topics/activate</a:t>
            </a:r>
            <a:endParaRPr lang="en-US" sz="1399">
              <a:solidFill>
                <a:srgbClr val="0C0C0C"/>
              </a:solidFill>
              <a:latin typeface="Arial"/>
            </a:endParaRP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endParaRPr lang="en-US" sz="1599">
              <a:solidFill>
                <a:srgbClr val="0C0C0C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43F709-CE63-9247-B65A-0D32517038F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1192" y="1515819"/>
            <a:ext cx="3489620" cy="246503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CE1B466-E577-4CD0-B5B8-B674649F6E88}"/>
              </a:ext>
            </a:extLst>
          </p:cNvPr>
          <p:cNvSpPr txBox="1">
            <a:spLocks/>
          </p:cNvSpPr>
          <p:nvPr/>
        </p:nvSpPr>
        <p:spPr>
          <a:xfrm>
            <a:off x="500239" y="4196098"/>
            <a:ext cx="3996001" cy="2576574"/>
          </a:xfrm>
          <a:prstGeom prst="rect">
            <a:avLst/>
          </a:prstGeom>
        </p:spPr>
        <p:txBody>
          <a:bodyPr/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4558F"/>
              </a:buClr>
              <a:defRPr/>
            </a:pPr>
            <a:r>
              <a:rPr lang="en-US" sz="1798" b="1">
                <a:solidFill>
                  <a:srgbClr val="0C0C0C"/>
                </a:solidFill>
                <a:latin typeface="Arial"/>
              </a:rPr>
              <a:t>SAP Roadmap Viewer &amp; Activate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Access implementation guidance for your digital transformation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View and download SAP Activate methodology assets and accelerators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Provide feedback to the Activate team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  <a:hlinkClick r:id="rId5"/>
              </a:rPr>
              <a:t>https://go.support.sap.com/roadmapviewer/#</a:t>
            </a:r>
            <a:endParaRPr lang="en-US" sz="1199">
              <a:solidFill>
                <a:srgbClr val="0C0C0C"/>
              </a:solidFill>
              <a:latin typeface="Arial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4713C5E-DFEE-498A-A680-6BB9E2D15196}"/>
              </a:ext>
            </a:extLst>
          </p:cNvPr>
          <p:cNvSpPr txBox="1">
            <a:spLocks/>
          </p:cNvSpPr>
          <p:nvPr/>
        </p:nvSpPr>
        <p:spPr>
          <a:xfrm>
            <a:off x="4570406" y="4171096"/>
            <a:ext cx="3398593" cy="2239951"/>
          </a:xfrm>
          <a:prstGeom prst="rect">
            <a:avLst/>
          </a:prstGeom>
        </p:spPr>
        <p:txBody>
          <a:bodyPr/>
          <a:lstStyle>
            <a:lvl1pPr marL="0" indent="0" algn="l" defTabSz="1088231" rtl="0" eaLnBrk="1" latinLnBrk="0" hangingPunct="1">
              <a:spcBef>
                <a:spcPts val="1799"/>
              </a:spcBef>
              <a:buClr>
                <a:schemeClr val="accent1"/>
              </a:buClr>
              <a:buSzPct val="80000"/>
              <a:buFontTx/>
              <a:buNone/>
              <a:defRPr sz="1999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10" indent="-179910" algn="l" defTabSz="1088231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667" indent="-179334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30" indent="-179910" algn="l" defTabSz="1088231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640" indent="-179910" algn="l" defTabSz="1088231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2637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753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868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985" indent="-272058" algn="l" defTabSz="108823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4558F"/>
              </a:buClr>
              <a:defRPr/>
            </a:pPr>
            <a:r>
              <a:rPr lang="en-US" sz="1798" b="1">
                <a:solidFill>
                  <a:srgbClr val="0C0C0C"/>
                </a:solidFill>
                <a:latin typeface="Arial"/>
              </a:rPr>
              <a:t>SAP Best Practices Explorer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Access and download SAP Best Practices content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</a:rPr>
              <a:t>Power your project with ready-to-run business processes</a:t>
            </a:r>
          </a:p>
          <a:p>
            <a:pPr marL="285521" lvl="1" indent="-285521">
              <a:buClr>
                <a:srgbClr val="14558F"/>
              </a:buClr>
              <a:buFont typeface="Arial" panose="020B0604020202020204" pitchFamily="34" charset="0"/>
              <a:buChar char="•"/>
              <a:defRPr/>
            </a:pPr>
            <a:r>
              <a:rPr lang="en-US" sz="1399">
                <a:solidFill>
                  <a:srgbClr val="0C0C0C"/>
                </a:solidFill>
                <a:latin typeface="Arial"/>
                <a:hlinkClick r:id="rId6"/>
              </a:rPr>
              <a:t>https://rapid.sap.com/bp/</a:t>
            </a:r>
            <a:endParaRPr lang="en-US" sz="1399">
              <a:solidFill>
                <a:srgbClr val="0C0C0C"/>
              </a:solidFill>
              <a:latin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295D2C-74AB-42C8-AA06-6D5F4AA99B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712" y="1515816"/>
            <a:ext cx="3902370" cy="244698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B8CEAD1-D8F3-4A74-A9B4-F6637163C1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3548" y="1531532"/>
            <a:ext cx="3472307" cy="24493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CBEF8C-FFDD-1656-1B82-F6447083FC7F}"/>
              </a:ext>
            </a:extLst>
          </p:cNvPr>
          <p:cNvSpPr/>
          <p:nvPr/>
        </p:nvSpPr>
        <p:spPr>
          <a:xfrm>
            <a:off x="4419600" y="4074160"/>
            <a:ext cx="3748209" cy="467360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7F707572-F987-AF69-CE6E-696093A7726C}"/>
              </a:ext>
            </a:extLst>
          </p:cNvPr>
          <p:cNvSpPr/>
          <p:nvPr/>
        </p:nvSpPr>
        <p:spPr>
          <a:xfrm rot="10800000" flipV="1">
            <a:off x="3730486" y="6088111"/>
            <a:ext cx="3076714" cy="556231"/>
          </a:xfrm>
          <a:prstGeom prst="wedgeRoundRectCallout">
            <a:avLst>
              <a:gd name="adj1" fmla="val 26403"/>
              <a:gd name="adj2" fmla="val -325410"/>
              <a:gd name="adj3" fmla="val 16667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To be replaced starting June 30, 2023 by “Process Navigator by SAP”</a:t>
            </a:r>
          </a:p>
        </p:txBody>
      </p:sp>
    </p:spTree>
    <p:extLst>
      <p:ext uri="{BB962C8B-B14F-4D97-AF65-F5344CB8AC3E}">
        <p14:creationId xmlns:p14="http://schemas.microsoft.com/office/powerpoint/2010/main" val="26190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0" name="Picture 139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75538" y="581348"/>
            <a:ext cx="1682706" cy="1681181"/>
          </a:xfrm>
          <a:prstGeom prst="rect">
            <a:avLst/>
          </a:prstGeom>
          <a:noFill/>
        </p:spPr>
      </p:pic>
      <p:pic>
        <p:nvPicPr>
          <p:cNvPr id="291" name="Picture 140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82164" y="100140"/>
            <a:ext cx="1338550" cy="1338550"/>
          </a:xfrm>
          <a:prstGeom prst="rect">
            <a:avLst/>
          </a:prstGeom>
          <a:noFill/>
        </p:spPr>
      </p:pic>
      <p:pic>
        <p:nvPicPr>
          <p:cNvPr id="292" name="Picture 141">
            <a:hlinkClick r:id="rId4"/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429369" y="1102148"/>
            <a:ext cx="1148199" cy="1146676"/>
          </a:xfrm>
          <a:prstGeom prst="rect">
            <a:avLst/>
          </a:prstGeom>
          <a:noFill/>
        </p:spPr>
      </p:pic>
      <p:pic>
        <p:nvPicPr>
          <p:cNvPr id="293" name="Picture 142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482181" y="732106"/>
            <a:ext cx="732472" cy="730948"/>
          </a:xfrm>
          <a:prstGeom prst="rect">
            <a:avLst/>
          </a:prstGeom>
          <a:noFill/>
        </p:spPr>
      </p:pic>
      <p:sp>
        <p:nvSpPr>
          <p:cNvPr id="294" name="Freeform 294">
            <a:hlinkClick r:id="rId7"/>
          </p:cNvPr>
          <p:cNvSpPr/>
          <p:nvPr/>
        </p:nvSpPr>
        <p:spPr>
          <a:xfrm>
            <a:off x="6996806" y="2155424"/>
            <a:ext cx="3397391" cy="13705"/>
          </a:xfrm>
          <a:custGeom>
            <a:avLst/>
            <a:gdLst/>
            <a:ahLst/>
            <a:cxnLst/>
            <a:rect l="0" t="0" r="0" b="0"/>
            <a:pathLst>
              <a:path w="3400045" h="13716">
                <a:moveTo>
                  <a:pt x="0" y="0"/>
                </a:moveTo>
                <a:lnTo>
                  <a:pt x="1133348" y="0"/>
                </a:lnTo>
                <a:lnTo>
                  <a:pt x="2266697" y="0"/>
                </a:lnTo>
                <a:lnTo>
                  <a:pt x="3400045" y="0"/>
                </a:lnTo>
                <a:lnTo>
                  <a:pt x="3400045" y="13716"/>
                </a:lnTo>
                <a:lnTo>
                  <a:pt x="2266697" y="13716"/>
                </a:lnTo>
                <a:lnTo>
                  <a:pt x="1133348" y="13716"/>
                </a:lnTo>
                <a:lnTo>
                  <a:pt x="0" y="13716"/>
                </a:lnTo>
                <a:close/>
                <a:moveTo>
                  <a:pt x="-2295525" y="4703571"/>
                </a:moveTo>
              </a:path>
            </a:pathLst>
          </a:custGeom>
          <a:solidFill>
            <a:srgbClr val="008FD3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95" name="Freeform 295">
            <a:hlinkClick r:id="rId8"/>
          </p:cNvPr>
          <p:cNvSpPr/>
          <p:nvPr/>
        </p:nvSpPr>
        <p:spPr>
          <a:xfrm>
            <a:off x="6530829" y="2475216"/>
            <a:ext cx="4329348" cy="13706"/>
          </a:xfrm>
          <a:custGeom>
            <a:avLst/>
            <a:gdLst/>
            <a:ahLst/>
            <a:cxnLst/>
            <a:rect l="0" t="0" r="0" b="0"/>
            <a:pathLst>
              <a:path w="4332731" h="13717">
                <a:moveTo>
                  <a:pt x="0" y="0"/>
                </a:moveTo>
                <a:lnTo>
                  <a:pt x="1083182" y="0"/>
                </a:lnTo>
                <a:lnTo>
                  <a:pt x="2166365" y="0"/>
                </a:lnTo>
                <a:lnTo>
                  <a:pt x="3249549" y="0"/>
                </a:lnTo>
                <a:lnTo>
                  <a:pt x="4332731" y="0"/>
                </a:lnTo>
                <a:lnTo>
                  <a:pt x="4332731" y="13717"/>
                </a:lnTo>
                <a:lnTo>
                  <a:pt x="3249549" y="13717"/>
                </a:lnTo>
                <a:lnTo>
                  <a:pt x="2166365" y="13717"/>
                </a:lnTo>
                <a:lnTo>
                  <a:pt x="1083182" y="13717"/>
                </a:lnTo>
                <a:lnTo>
                  <a:pt x="0" y="13717"/>
                </a:lnTo>
                <a:close/>
                <a:moveTo>
                  <a:pt x="-2149221" y="4383532"/>
                </a:moveTo>
              </a:path>
            </a:pathLst>
          </a:custGeom>
          <a:solidFill>
            <a:srgbClr val="008FD3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0" name="Rectangle 300"/>
          <p:cNvSpPr/>
          <p:nvPr/>
        </p:nvSpPr>
        <p:spPr>
          <a:xfrm>
            <a:off x="6846935" y="1209693"/>
            <a:ext cx="3701719" cy="61587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Acti</a:t>
            </a:r>
            <a:r>
              <a:rPr lang="en-US" sz="2002" b="1" spc="-2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</a:t>
            </a:r>
            <a:r>
              <a:rPr lang="en-US" sz="2002" b="1" spc="-29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</a:t>
            </a:r>
            <a:r>
              <a:rPr lang="en-US" sz="2002" b="1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2002" b="1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en-US" sz="2002" b="1" spc="-1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</a:t>
            </a:r>
          </a:p>
          <a:p>
            <a:pPr marL="1359844">
              <a:lnSpc>
                <a:spcPts val="2398"/>
              </a:lnSpc>
            </a:pPr>
            <a:r>
              <a:rPr lang="en-US" sz="200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:</a:t>
            </a:r>
          </a:p>
        </p:txBody>
      </p:sp>
      <p:sp>
        <p:nvSpPr>
          <p:cNvPr id="301" name="Rectangle 301"/>
          <p:cNvSpPr/>
          <p:nvPr/>
        </p:nvSpPr>
        <p:spPr>
          <a:xfrm>
            <a:off x="6997695" y="1936686"/>
            <a:ext cx="3279575" cy="21565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2">
                <a:solidFill>
                  <a:srgbClr val="008FD3"/>
                </a:solidFill>
                <a:hlinkClick r:id="rId4"/>
              </a:rPr>
              <a:t>https://g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o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.s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u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p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p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ort.s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a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p.com/r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o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a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d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ma</a:t>
            </a:r>
            <a:r>
              <a:rPr lang="en-US" sz="1402" spc="-13">
                <a:solidFill>
                  <a:srgbClr val="008FD3"/>
                </a:solidFill>
                <a:hlinkClick r:id="rId4"/>
              </a:rPr>
              <a:t>p</a:t>
            </a:r>
            <a:r>
              <a:rPr lang="en-US" sz="1402" spc="-19">
                <a:solidFill>
                  <a:srgbClr val="008FD3"/>
                </a:solidFill>
                <a:hlinkClick r:id="rId4"/>
              </a:rPr>
              <a:t>v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ie</a:t>
            </a:r>
            <a:r>
              <a:rPr lang="en-US" sz="1402" spc="-19">
                <a:solidFill>
                  <a:srgbClr val="008FD3"/>
                </a:solidFill>
                <a:hlinkClick r:id="rId4"/>
              </a:rPr>
              <a:t>w</a:t>
            </a:r>
            <a:r>
              <a:rPr lang="en-US" sz="1402">
                <a:solidFill>
                  <a:srgbClr val="008FD3"/>
                </a:solidFill>
                <a:hlinkClick r:id="rId4"/>
              </a:rPr>
              <a:t>er/</a:t>
            </a:r>
          </a:p>
        </p:txBody>
      </p:sp>
      <p:sp>
        <p:nvSpPr>
          <p:cNvPr id="302" name="Rectangle 302"/>
          <p:cNvSpPr/>
          <p:nvPr/>
        </p:nvSpPr>
        <p:spPr>
          <a:xfrm>
            <a:off x="6531460" y="2256476"/>
            <a:ext cx="3965624" cy="21565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2">
                <a:solidFill>
                  <a:srgbClr val="008FD3"/>
                </a:solidFill>
                <a:hlinkClick r:id="rId8"/>
              </a:rPr>
              <a:t>Getting</a:t>
            </a:r>
            <a:r>
              <a:rPr lang="en-US" sz="1402" spc="-44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Started</a:t>
            </a:r>
            <a:r>
              <a:rPr lang="en-US" sz="1402" spc="-31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 spc="-19">
                <a:solidFill>
                  <a:srgbClr val="008FD3"/>
                </a:solidFill>
                <a:hlinkClick r:id="rId8"/>
              </a:rPr>
              <a:t>w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ith the</a:t>
            </a:r>
            <a:r>
              <a:rPr lang="en-US" sz="1402" spc="-20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SA</a:t>
            </a:r>
            <a:r>
              <a:rPr lang="en-US" sz="1402" spc="-26">
                <a:solidFill>
                  <a:srgbClr val="008FD3"/>
                </a:solidFill>
                <a:hlinkClick r:id="rId8"/>
              </a:rPr>
              <a:t>P</a:t>
            </a:r>
            <a:r>
              <a:rPr lang="en-US" sz="1402" spc="-79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Acti</a:t>
            </a:r>
            <a:r>
              <a:rPr lang="en-US" sz="1402" spc="-19">
                <a:solidFill>
                  <a:srgbClr val="008FD3"/>
                </a:solidFill>
                <a:hlinkClick r:id="rId8"/>
              </a:rPr>
              <a:t>v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ate</a:t>
            </a:r>
            <a:r>
              <a:rPr lang="en-US" sz="1402" spc="-19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Roadmap</a:t>
            </a:r>
            <a:r>
              <a:rPr lang="en-US" sz="1402" spc="-31">
                <a:solidFill>
                  <a:srgbClr val="008FD3"/>
                </a:solidFill>
                <a:hlinkClick r:id="rId8"/>
              </a:rPr>
              <a:t> </a:t>
            </a:r>
            <a:r>
              <a:rPr lang="en-US" sz="1402" spc="-24">
                <a:solidFill>
                  <a:srgbClr val="008FD3"/>
                </a:solidFill>
                <a:hlinkClick r:id="rId8"/>
              </a:rPr>
              <a:t>V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ie</a:t>
            </a:r>
            <a:r>
              <a:rPr lang="en-US" sz="1402" spc="-19">
                <a:solidFill>
                  <a:srgbClr val="008FD3"/>
                </a:solidFill>
                <a:hlinkClick r:id="rId8"/>
              </a:rPr>
              <a:t>w</a:t>
            </a:r>
            <a:r>
              <a:rPr lang="en-US" sz="1402">
                <a:solidFill>
                  <a:srgbClr val="008FD3"/>
                </a:solidFill>
                <a:hlinkClick r:id="rId8"/>
              </a:rPr>
              <a:t>er</a:t>
            </a:r>
          </a:p>
        </p:txBody>
      </p:sp>
      <p:sp>
        <p:nvSpPr>
          <p:cNvPr id="303" name="Rectangle 303"/>
          <p:cNvSpPr/>
          <p:nvPr/>
        </p:nvSpPr>
        <p:spPr>
          <a:xfrm>
            <a:off x="763711" y="1728239"/>
            <a:ext cx="987450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b="1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304" name="Rectangle 304"/>
          <p:cNvSpPr/>
          <p:nvPr/>
        </p:nvSpPr>
        <p:spPr>
          <a:xfrm>
            <a:off x="445093" y="2115106"/>
            <a:ext cx="5034048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tabLst>
                <a:tab pos="342626" algn="l"/>
              </a:tabLst>
            </a:pPr>
            <a:r>
              <a:rPr lang="en-US" sz="1595" dirty="0">
                <a:solidFill>
                  <a:srgbClr val="F0AB00"/>
                </a:solidFill>
              </a:rPr>
              <a:t>•	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</a:t>
            </a:r>
            <a:r>
              <a:rPr lang="en-US" sz="1595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ori application</a:t>
            </a:r>
            <a:r>
              <a:rPr lang="en-US" sz="1595" b="1" spc="-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help</a:t>
            </a:r>
            <a:r>
              <a:rPr lang="en-US" sz="1595" spc="-12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95" spc="-1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 to guide </a:t>
            </a:r>
            <a:r>
              <a:rPr lang="en-US" sz="1595" spc="-16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</a:p>
        </p:txBody>
      </p:sp>
      <p:sp>
        <p:nvSpPr>
          <p:cNvPr id="305" name="Rectangle 305"/>
          <p:cNvSpPr/>
          <p:nvPr/>
        </p:nvSpPr>
        <p:spPr>
          <a:xfrm>
            <a:off x="787725" y="2358755"/>
            <a:ext cx="3582251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S/4HANA implementation project</a:t>
            </a:r>
          </a:p>
        </p:txBody>
      </p:sp>
      <p:sp>
        <p:nvSpPr>
          <p:cNvPr id="306" name="Rectangle 306"/>
          <p:cNvSpPr/>
          <p:nvPr/>
        </p:nvSpPr>
        <p:spPr>
          <a:xfrm>
            <a:off x="445095" y="2678927"/>
            <a:ext cx="5447686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tabLst>
                <a:tab pos="342626" algn="l"/>
              </a:tabLst>
            </a:pPr>
            <a:r>
              <a:rPr lang="en-US" sz="1595" dirty="0">
                <a:solidFill>
                  <a:srgbClr val="F0AB00"/>
                </a:solidFill>
              </a:rPr>
              <a:t>•	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ins time-phased instructions to help execute</a:t>
            </a:r>
          </a:p>
        </p:txBody>
      </p:sp>
      <p:sp>
        <p:nvSpPr>
          <p:cNvPr id="307" name="Rectangle 307"/>
          <p:cNvSpPr/>
          <p:nvPr/>
        </p:nvSpPr>
        <p:spPr>
          <a:xfrm>
            <a:off x="787727" y="2922576"/>
            <a:ext cx="4076944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s  throughout the implementation journey</a:t>
            </a:r>
          </a:p>
        </p:txBody>
      </p:sp>
      <p:sp>
        <p:nvSpPr>
          <p:cNvPr id="308" name="Rectangle 308"/>
          <p:cNvSpPr/>
          <p:nvPr/>
        </p:nvSpPr>
        <p:spPr>
          <a:xfrm>
            <a:off x="445095" y="3242366"/>
            <a:ext cx="5216584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tabLst>
                <a:tab pos="342626" algn="l"/>
              </a:tabLst>
            </a:pPr>
            <a:r>
              <a:rPr lang="en-US" sz="1595" dirty="0">
                <a:solidFill>
                  <a:srgbClr val="F0AB00"/>
                </a:solidFill>
              </a:rPr>
              <a:t>•	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s you a large number of accelerators to help</a:t>
            </a:r>
          </a:p>
        </p:txBody>
      </p:sp>
      <p:sp>
        <p:nvSpPr>
          <p:cNvPr id="309" name="Rectangle 309"/>
          <p:cNvSpPr/>
          <p:nvPr/>
        </p:nvSpPr>
        <p:spPr>
          <a:xfrm>
            <a:off x="787727" y="3486016"/>
            <a:ext cx="3976327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run your project as efficient as possible</a:t>
            </a:r>
          </a:p>
        </p:txBody>
      </p:sp>
      <p:sp>
        <p:nvSpPr>
          <p:cNvPr id="310" name="Rectangle 310"/>
          <p:cNvSpPr/>
          <p:nvPr/>
        </p:nvSpPr>
        <p:spPr>
          <a:xfrm>
            <a:off x="445096" y="3805806"/>
            <a:ext cx="5144122" cy="245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tabLst>
                <a:tab pos="342626" algn="l"/>
              </a:tabLst>
            </a:pPr>
            <a:r>
              <a:rPr lang="en-US" sz="1595" dirty="0">
                <a:solidFill>
                  <a:srgbClr val="F0AB00"/>
                </a:solidFill>
              </a:rPr>
              <a:t>•	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t continuously updated to provide current</a:t>
            </a:r>
          </a:p>
        </p:txBody>
      </p:sp>
      <p:sp>
        <p:nvSpPr>
          <p:cNvPr id="311" name="Rectangle 311"/>
          <p:cNvSpPr/>
          <p:nvPr/>
        </p:nvSpPr>
        <p:spPr>
          <a:xfrm>
            <a:off x="787725" y="4049114"/>
            <a:ext cx="2903097" cy="2460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 accurate instruction</a:t>
            </a:r>
          </a:p>
        </p:txBody>
      </p:sp>
      <p:sp>
        <p:nvSpPr>
          <p:cNvPr id="312" name="Rectangle 312"/>
          <p:cNvSpPr/>
          <p:nvPr/>
        </p:nvSpPr>
        <p:spPr>
          <a:xfrm>
            <a:off x="445094" y="4369499"/>
            <a:ext cx="5144122" cy="4909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tabLst>
                <a:tab pos="342626" algn="l"/>
              </a:tabLst>
            </a:pPr>
            <a:r>
              <a:rPr lang="en-US" sz="1595" dirty="0">
                <a:solidFill>
                  <a:srgbClr val="F0AB00"/>
                </a:solidFill>
              </a:rPr>
              <a:t>•	</a:t>
            </a:r>
            <a:r>
              <a:rPr lang="en-US" sz="159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 you through the whole SAP S/4HANA  	solution lifecycle</a:t>
            </a:r>
          </a:p>
        </p:txBody>
      </p:sp>
      <p:sp>
        <p:nvSpPr>
          <p:cNvPr id="315" name="Rectangle 315"/>
          <p:cNvSpPr/>
          <p:nvPr/>
        </p:nvSpPr>
        <p:spPr>
          <a:xfrm>
            <a:off x="172934" y="77438"/>
            <a:ext cx="5205912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P Activate Roadmap Viewer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0E90416-6D54-47BB-9F29-2841EA1572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5618" y="2932022"/>
            <a:ext cx="6094114" cy="28290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2C3F839-6311-4491-B6CA-9F9351EFCDA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489616" y="2922363"/>
            <a:ext cx="145140" cy="24755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5EA2971-442A-463D-B923-75F870FAC090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1096777" y="3163628"/>
            <a:ext cx="685443" cy="91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9933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Chevron 148">
            <a:extLst>
              <a:ext uri="{FF2B5EF4-FFF2-40B4-BE49-F238E27FC236}">
                <a16:creationId xmlns:a16="http://schemas.microsoft.com/office/drawing/2014/main" id="{37B06E59-7025-4B22-8C20-481DC693B959}"/>
              </a:ext>
            </a:extLst>
          </p:cNvPr>
          <p:cNvSpPr/>
          <p:nvPr/>
        </p:nvSpPr>
        <p:spPr bwMode="gray">
          <a:xfrm>
            <a:off x="9426472" y="2800808"/>
            <a:ext cx="1370886" cy="324195"/>
          </a:xfrm>
          <a:prstGeom prst="chevron">
            <a:avLst/>
          </a:prstGeom>
          <a:solidFill>
            <a:srgbClr val="A8A340"/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Run</a:t>
            </a:r>
          </a:p>
        </p:txBody>
      </p:sp>
      <p:sp>
        <p:nvSpPr>
          <p:cNvPr id="156" name="Chevron 149">
            <a:extLst>
              <a:ext uri="{FF2B5EF4-FFF2-40B4-BE49-F238E27FC236}">
                <a16:creationId xmlns:a16="http://schemas.microsoft.com/office/drawing/2014/main" id="{113DC7E8-C246-44A8-9AC6-6C5E34B4A22A}"/>
              </a:ext>
            </a:extLst>
          </p:cNvPr>
          <p:cNvSpPr/>
          <p:nvPr/>
        </p:nvSpPr>
        <p:spPr bwMode="gray">
          <a:xfrm>
            <a:off x="7894912" y="2800808"/>
            <a:ext cx="1645063" cy="324195"/>
          </a:xfrm>
          <a:prstGeom prst="chevron">
            <a:avLst/>
          </a:prstGeom>
          <a:solidFill>
            <a:schemeClr val="accent1">
              <a:alpha val="70000"/>
            </a:schemeClr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Deploy</a:t>
            </a:r>
          </a:p>
        </p:txBody>
      </p:sp>
      <p:sp>
        <p:nvSpPr>
          <p:cNvPr id="157" name="Chevron 150">
            <a:extLst>
              <a:ext uri="{FF2B5EF4-FFF2-40B4-BE49-F238E27FC236}">
                <a16:creationId xmlns:a16="http://schemas.microsoft.com/office/drawing/2014/main" id="{BA89A2DE-7777-4EC3-A725-47FE07569DA7}"/>
              </a:ext>
            </a:extLst>
          </p:cNvPr>
          <p:cNvSpPr/>
          <p:nvPr/>
        </p:nvSpPr>
        <p:spPr bwMode="gray">
          <a:xfrm>
            <a:off x="5364604" y="2800808"/>
            <a:ext cx="2646461" cy="324195"/>
          </a:xfrm>
          <a:prstGeom prst="chevron">
            <a:avLst/>
          </a:prstGeom>
          <a:solidFill>
            <a:srgbClr val="008FD3"/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Realize</a:t>
            </a:r>
          </a:p>
        </p:txBody>
      </p:sp>
      <p:sp>
        <p:nvSpPr>
          <p:cNvPr id="158" name="Chevron 151">
            <a:extLst>
              <a:ext uri="{FF2B5EF4-FFF2-40B4-BE49-F238E27FC236}">
                <a16:creationId xmlns:a16="http://schemas.microsoft.com/office/drawing/2014/main" id="{C8055011-D105-4FF8-B4AD-A9D4B3EC5757}"/>
              </a:ext>
            </a:extLst>
          </p:cNvPr>
          <p:cNvSpPr/>
          <p:nvPr/>
        </p:nvSpPr>
        <p:spPr bwMode="gray">
          <a:xfrm>
            <a:off x="3984027" y="2800808"/>
            <a:ext cx="1500874" cy="324195"/>
          </a:xfrm>
          <a:prstGeom prst="chevron">
            <a:avLst/>
          </a:prstGeom>
          <a:solidFill>
            <a:srgbClr val="609A7F"/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Explore</a:t>
            </a:r>
          </a:p>
        </p:txBody>
      </p:sp>
      <p:sp>
        <p:nvSpPr>
          <p:cNvPr id="159" name="Pentagon 152">
            <a:extLst>
              <a:ext uri="{FF2B5EF4-FFF2-40B4-BE49-F238E27FC236}">
                <a16:creationId xmlns:a16="http://schemas.microsoft.com/office/drawing/2014/main" id="{7C8E77D5-AF9D-46D3-B191-5AC722B67A85}"/>
              </a:ext>
            </a:extLst>
          </p:cNvPr>
          <p:cNvSpPr/>
          <p:nvPr/>
        </p:nvSpPr>
        <p:spPr bwMode="gray">
          <a:xfrm>
            <a:off x="1217578" y="2809737"/>
            <a:ext cx="1594447" cy="315266"/>
          </a:xfrm>
          <a:prstGeom prst="homePlate">
            <a:avLst/>
          </a:prstGeom>
          <a:solidFill>
            <a:srgbClr val="F0AB00"/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Discover</a:t>
            </a:r>
          </a:p>
        </p:txBody>
      </p:sp>
      <p:sp>
        <p:nvSpPr>
          <p:cNvPr id="160" name="Chevron 153">
            <a:extLst>
              <a:ext uri="{FF2B5EF4-FFF2-40B4-BE49-F238E27FC236}">
                <a16:creationId xmlns:a16="http://schemas.microsoft.com/office/drawing/2014/main" id="{A482F7A2-1091-47BF-B9D2-CB9823A96E07}"/>
              </a:ext>
            </a:extLst>
          </p:cNvPr>
          <p:cNvSpPr/>
          <p:nvPr/>
        </p:nvSpPr>
        <p:spPr bwMode="gray">
          <a:xfrm>
            <a:off x="2716049" y="2802820"/>
            <a:ext cx="1363952" cy="324195"/>
          </a:xfrm>
          <a:prstGeom prst="chevron">
            <a:avLst/>
          </a:prstGeom>
          <a:solidFill>
            <a:srgbClr val="A8A340"/>
          </a:solidFill>
          <a:ln w="6350" algn="ctr">
            <a:solidFill>
              <a:srgbClr val="FFFFFF">
                <a:lumMod val="75000"/>
              </a:srgbClr>
            </a:solidFill>
            <a:miter lim="800000"/>
            <a:headEnd/>
            <a:tailEnd/>
          </a:ln>
        </p:spPr>
        <p:txBody>
          <a:bodyPr lIns="71944" tIns="71944" rIns="71944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Prepare</a:t>
            </a:r>
          </a:p>
        </p:txBody>
      </p: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8AEC48AF-A207-4BF0-BB20-D3233BE36249}"/>
              </a:ext>
            </a:extLst>
          </p:cNvPr>
          <p:cNvCxnSpPr/>
          <p:nvPr/>
        </p:nvCxnSpPr>
        <p:spPr>
          <a:xfrm>
            <a:off x="1184716" y="3679040"/>
            <a:ext cx="1151676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8BC537CC-A1B8-4D67-AC16-864140C86719}"/>
              </a:ext>
            </a:extLst>
          </p:cNvPr>
          <p:cNvCxnSpPr/>
          <p:nvPr/>
        </p:nvCxnSpPr>
        <p:spPr>
          <a:xfrm>
            <a:off x="4530403" y="3679040"/>
            <a:ext cx="1215659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A8B0C1DB-90A6-44A9-B65C-61DEADE9FE8D}"/>
              </a:ext>
            </a:extLst>
          </p:cNvPr>
          <p:cNvCxnSpPr/>
          <p:nvPr/>
        </p:nvCxnSpPr>
        <p:spPr>
          <a:xfrm>
            <a:off x="8011064" y="3679040"/>
            <a:ext cx="1599551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59E56310-4C7F-4EF1-BC57-B2013949F7C9}"/>
              </a:ext>
            </a:extLst>
          </p:cNvPr>
          <p:cNvCxnSpPr/>
          <p:nvPr/>
        </p:nvCxnSpPr>
        <p:spPr>
          <a:xfrm>
            <a:off x="3345472" y="3679040"/>
            <a:ext cx="1247649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4631D868-FA98-4946-ACFE-228A94DFB554}"/>
              </a:ext>
            </a:extLst>
          </p:cNvPr>
          <p:cNvCxnSpPr/>
          <p:nvPr/>
        </p:nvCxnSpPr>
        <p:spPr>
          <a:xfrm>
            <a:off x="5701002" y="3679040"/>
            <a:ext cx="1151676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4647B731-A125-4610-805E-FD443E6B7D77}"/>
              </a:ext>
            </a:extLst>
          </p:cNvPr>
          <p:cNvCxnSpPr>
            <a:cxnSpLocks/>
          </p:cNvCxnSpPr>
          <p:nvPr/>
        </p:nvCxnSpPr>
        <p:spPr>
          <a:xfrm flipV="1">
            <a:off x="9364153" y="3671553"/>
            <a:ext cx="1634386" cy="11725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A4746D04-C01F-48AB-A0E3-37F686604DA8}"/>
              </a:ext>
            </a:extLst>
          </p:cNvPr>
          <p:cNvCxnSpPr/>
          <p:nvPr/>
        </p:nvCxnSpPr>
        <p:spPr>
          <a:xfrm>
            <a:off x="6803976" y="3679040"/>
            <a:ext cx="1279641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F3D8C265-E460-4FC3-A26F-37CB68967CE6}"/>
              </a:ext>
            </a:extLst>
          </p:cNvPr>
          <p:cNvCxnSpPr/>
          <p:nvPr/>
        </p:nvCxnSpPr>
        <p:spPr>
          <a:xfrm>
            <a:off x="2276025" y="3679040"/>
            <a:ext cx="1151676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ight Bracket 169">
            <a:extLst>
              <a:ext uri="{FF2B5EF4-FFF2-40B4-BE49-F238E27FC236}">
                <a16:creationId xmlns:a16="http://schemas.microsoft.com/office/drawing/2014/main" id="{81AFDE23-1E2F-4B8F-A5FC-0FDA362312BC}"/>
              </a:ext>
            </a:extLst>
          </p:cNvPr>
          <p:cNvSpPr/>
          <p:nvPr/>
        </p:nvSpPr>
        <p:spPr>
          <a:xfrm>
            <a:off x="8953356" y="3253991"/>
            <a:ext cx="199690" cy="426006"/>
          </a:xfrm>
          <a:prstGeom prst="rightBracket">
            <a:avLst>
              <a:gd name="adj" fmla="val 129838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99">
              <a:solidFill>
                <a:srgbClr val="000000"/>
              </a:solidFill>
            </a:endParaRP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03986F24-B7C5-460A-8F6B-7CF7E54383BD}"/>
              </a:ext>
            </a:extLst>
          </p:cNvPr>
          <p:cNvCxnSpPr/>
          <p:nvPr/>
        </p:nvCxnSpPr>
        <p:spPr>
          <a:xfrm>
            <a:off x="2819279" y="3253991"/>
            <a:ext cx="6123291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ight Bracket 171">
            <a:extLst>
              <a:ext uri="{FF2B5EF4-FFF2-40B4-BE49-F238E27FC236}">
                <a16:creationId xmlns:a16="http://schemas.microsoft.com/office/drawing/2014/main" id="{533BA5F4-D997-441D-BCD0-F0169920282A}"/>
              </a:ext>
            </a:extLst>
          </p:cNvPr>
          <p:cNvSpPr/>
          <p:nvPr/>
        </p:nvSpPr>
        <p:spPr>
          <a:xfrm flipH="1">
            <a:off x="2636774" y="3253993"/>
            <a:ext cx="199178" cy="423712"/>
          </a:xfrm>
          <a:prstGeom prst="rightBracket">
            <a:avLst>
              <a:gd name="adj" fmla="val 100584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99">
              <a:solidFill>
                <a:srgbClr val="000000"/>
              </a:solidFill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EF6907EA-2F9C-4621-A279-EFADF8DF7C8D}"/>
              </a:ext>
            </a:extLst>
          </p:cNvPr>
          <p:cNvSpPr txBox="1"/>
          <p:nvPr/>
        </p:nvSpPr>
        <p:spPr>
          <a:xfrm>
            <a:off x="5074618" y="3329047"/>
            <a:ext cx="1272121" cy="16137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49" b="1" kern="0">
                <a:solidFill>
                  <a:srgbClr val="000000">
                    <a:lumMod val="65000"/>
                    <a:lumOff val="35000"/>
                  </a:srgbClr>
                </a:solidFill>
                <a:ea typeface="Arial Unicode MS" pitchFamily="34" charset="-128"/>
                <a:cs typeface="Arial Unicode MS" pitchFamily="34" charset="-128"/>
              </a:rPr>
              <a:t>Continuous Innovation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3F4FE665-9299-4874-AAE5-C237C4BDB8D9}"/>
              </a:ext>
            </a:extLst>
          </p:cNvPr>
          <p:cNvCxnSpPr>
            <a:cxnSpLocks/>
            <a:stCxn id="188" idx="0"/>
            <a:endCxn id="189" idx="0"/>
          </p:cNvCxnSpPr>
          <p:nvPr/>
        </p:nvCxnSpPr>
        <p:spPr>
          <a:xfrm flipH="1">
            <a:off x="1698876" y="3757041"/>
            <a:ext cx="2797" cy="151400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75" y="54312"/>
            <a:ext cx="11180653" cy="645995"/>
          </a:xfrm>
        </p:spPr>
        <p:txBody>
          <a:bodyPr/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P Activate phases</a:t>
            </a:r>
            <a:b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37798" y="1539796"/>
            <a:ext cx="1261079" cy="36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Journey</a:t>
            </a:r>
            <a:b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and Key Milestones</a:t>
            </a:r>
          </a:p>
        </p:txBody>
      </p:sp>
      <p:sp>
        <p:nvSpPr>
          <p:cNvPr id="10" name="Flowchart: Decision 9"/>
          <p:cNvSpPr/>
          <p:nvPr/>
        </p:nvSpPr>
        <p:spPr bwMode="gray">
          <a:xfrm>
            <a:off x="1826664" y="3582480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2" name="Straight Connector 11"/>
          <p:cNvCxnSpPr>
            <a:stCxn id="10" idx="0"/>
            <a:endCxn id="13" idx="4"/>
          </p:cNvCxnSpPr>
          <p:nvPr/>
        </p:nvCxnSpPr>
        <p:spPr>
          <a:xfrm flipV="1">
            <a:off x="1904046" y="1432988"/>
            <a:ext cx="7614" cy="214949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 bwMode="gray">
          <a:xfrm>
            <a:off x="1857702" y="1325070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898430" y="1249924"/>
            <a:ext cx="846266" cy="2459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Qualification</a:t>
            </a:r>
          </a:p>
        </p:txBody>
      </p:sp>
      <p:sp>
        <p:nvSpPr>
          <p:cNvPr id="111" name="Flowchart: Decision 110"/>
          <p:cNvSpPr/>
          <p:nvPr/>
        </p:nvSpPr>
        <p:spPr bwMode="gray">
          <a:xfrm>
            <a:off x="2445040" y="3582480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12" name="Straight Connector 111"/>
          <p:cNvCxnSpPr>
            <a:cxnSpLocks/>
            <a:stCxn id="111" idx="0"/>
            <a:endCxn id="113" idx="4"/>
          </p:cNvCxnSpPr>
          <p:nvPr/>
        </p:nvCxnSpPr>
        <p:spPr>
          <a:xfrm flipV="1">
            <a:off x="2522424" y="1733537"/>
            <a:ext cx="26577" cy="1848941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/>
        </p:nvSpPr>
        <p:spPr bwMode="gray">
          <a:xfrm>
            <a:off x="2495041" y="1625620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2588715" y="1594028"/>
            <a:ext cx="1330121" cy="2459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Discovery Assessment</a:t>
            </a:r>
          </a:p>
        </p:txBody>
      </p:sp>
      <p:sp>
        <p:nvSpPr>
          <p:cNvPr id="117" name="Flowchart: Decision 116"/>
          <p:cNvSpPr/>
          <p:nvPr/>
        </p:nvSpPr>
        <p:spPr bwMode="gray">
          <a:xfrm>
            <a:off x="3567548" y="3582480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18" name="Straight Connector 117"/>
          <p:cNvCxnSpPr>
            <a:stCxn id="117" idx="0"/>
            <a:endCxn id="120" idx="4"/>
          </p:cNvCxnSpPr>
          <p:nvPr/>
        </p:nvCxnSpPr>
        <p:spPr>
          <a:xfrm flipV="1">
            <a:off x="3644931" y="2481361"/>
            <a:ext cx="7613" cy="1101117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Oval 119"/>
          <p:cNvSpPr/>
          <p:nvPr/>
        </p:nvSpPr>
        <p:spPr bwMode="gray">
          <a:xfrm>
            <a:off x="3598584" y="2373444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3667212" y="2265167"/>
            <a:ext cx="1182021" cy="399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Onboard Project Team</a:t>
            </a:r>
          </a:p>
        </p:txBody>
      </p:sp>
      <p:sp>
        <p:nvSpPr>
          <p:cNvPr id="128" name="Flowchart: Decision 127"/>
          <p:cNvSpPr/>
          <p:nvPr/>
        </p:nvSpPr>
        <p:spPr bwMode="gray">
          <a:xfrm>
            <a:off x="4976498" y="3582480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29" name="Straight Connector 128"/>
          <p:cNvCxnSpPr>
            <a:cxnSpLocks/>
            <a:stCxn id="128" idx="0"/>
            <a:endCxn id="130" idx="4"/>
          </p:cNvCxnSpPr>
          <p:nvPr/>
        </p:nvCxnSpPr>
        <p:spPr>
          <a:xfrm flipV="1">
            <a:off x="5053881" y="1788402"/>
            <a:ext cx="17232" cy="1794076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val 129"/>
          <p:cNvSpPr/>
          <p:nvPr/>
        </p:nvSpPr>
        <p:spPr bwMode="gray">
          <a:xfrm>
            <a:off x="5017153" y="1680485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5096708" y="1611426"/>
            <a:ext cx="1623318" cy="399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Finalized scope and backlog</a:t>
            </a:r>
            <a:br>
              <a:rPr lang="en-US" sz="999" kern="0">
                <a:ea typeface="Arial Unicode MS" pitchFamily="34" charset="-128"/>
                <a:cs typeface="Arial Unicode MS" pitchFamily="34" charset="-128"/>
              </a:rPr>
            </a:b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with delta requirements</a:t>
            </a:r>
          </a:p>
        </p:txBody>
      </p:sp>
      <p:sp>
        <p:nvSpPr>
          <p:cNvPr id="134" name="Flowchart: Decision 133"/>
          <p:cNvSpPr/>
          <p:nvPr/>
        </p:nvSpPr>
        <p:spPr bwMode="gray">
          <a:xfrm>
            <a:off x="8214875" y="3582480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35" name="Straight Connector 134"/>
          <p:cNvCxnSpPr>
            <a:stCxn id="134" idx="0"/>
            <a:endCxn id="136" idx="4"/>
          </p:cNvCxnSpPr>
          <p:nvPr/>
        </p:nvCxnSpPr>
        <p:spPr>
          <a:xfrm flipH="1" flipV="1">
            <a:off x="8291166" y="2046417"/>
            <a:ext cx="1091" cy="1536063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Oval 135"/>
          <p:cNvSpPr/>
          <p:nvPr/>
        </p:nvSpPr>
        <p:spPr bwMode="gray">
          <a:xfrm>
            <a:off x="8237207" y="1938498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8322070" y="1869440"/>
            <a:ext cx="1125043" cy="3996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Go-Live Readiness</a:t>
            </a:r>
            <a:br>
              <a:rPr lang="en-US" sz="999" kern="0">
                <a:ea typeface="Arial Unicode MS" pitchFamily="34" charset="-128"/>
                <a:cs typeface="Arial Unicode MS" pitchFamily="34" charset="-128"/>
              </a:rPr>
            </a:b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Assessment</a:t>
            </a:r>
          </a:p>
        </p:txBody>
      </p:sp>
      <p:sp>
        <p:nvSpPr>
          <p:cNvPr id="116" name="Flowchart: Decision 115"/>
          <p:cNvSpPr/>
          <p:nvPr/>
        </p:nvSpPr>
        <p:spPr bwMode="gray">
          <a:xfrm>
            <a:off x="2687497" y="3575778"/>
            <a:ext cx="154766" cy="193230"/>
          </a:xfrm>
          <a:prstGeom prst="flowChartDecision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21" name="Straight Connector 120"/>
          <p:cNvCxnSpPr>
            <a:stCxn id="116" idx="0"/>
            <a:endCxn id="122" idx="4"/>
          </p:cNvCxnSpPr>
          <p:nvPr/>
        </p:nvCxnSpPr>
        <p:spPr>
          <a:xfrm flipH="1" flipV="1">
            <a:off x="2764879" y="2060672"/>
            <a:ext cx="1" cy="1515106"/>
          </a:xfrm>
          <a:prstGeom prst="line">
            <a:avLst/>
          </a:prstGeom>
          <a:ln w="635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Oval 121"/>
          <p:cNvSpPr/>
          <p:nvPr/>
        </p:nvSpPr>
        <p:spPr bwMode="gray">
          <a:xfrm>
            <a:off x="2710919" y="1952753"/>
            <a:ext cx="107919" cy="107919"/>
          </a:xfrm>
          <a:prstGeom prst="ellipse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2787058" y="1847427"/>
            <a:ext cx="378433" cy="2459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Buy</a:t>
            </a:r>
          </a:p>
        </p:txBody>
      </p:sp>
      <p:sp>
        <p:nvSpPr>
          <p:cNvPr id="115" name="Flowchart: Decision 115"/>
          <p:cNvSpPr/>
          <p:nvPr/>
        </p:nvSpPr>
        <p:spPr bwMode="gray">
          <a:xfrm>
            <a:off x="8971262" y="3571796"/>
            <a:ext cx="154766" cy="193230"/>
          </a:xfrm>
          <a:prstGeom prst="flowChartDecision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25" name="Straight Connector 124"/>
          <p:cNvCxnSpPr>
            <a:cxnSpLocks/>
            <a:stCxn id="115" idx="0"/>
          </p:cNvCxnSpPr>
          <p:nvPr/>
        </p:nvCxnSpPr>
        <p:spPr>
          <a:xfrm flipH="1" flipV="1">
            <a:off x="9040896" y="2478918"/>
            <a:ext cx="7748" cy="1092877"/>
          </a:xfrm>
          <a:prstGeom prst="line">
            <a:avLst/>
          </a:prstGeom>
          <a:ln w="635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125"/>
          <p:cNvSpPr/>
          <p:nvPr/>
        </p:nvSpPr>
        <p:spPr bwMode="gray">
          <a:xfrm>
            <a:off x="9002177" y="2476234"/>
            <a:ext cx="107919" cy="107919"/>
          </a:xfrm>
          <a:prstGeom prst="ellipse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9052228" y="2407176"/>
            <a:ext cx="575499" cy="2459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Go-Live</a:t>
            </a: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499BBF3B-60A9-49BF-B267-A7128421E15B}"/>
              </a:ext>
            </a:extLst>
          </p:cNvPr>
          <p:cNvCxnSpPr>
            <a:cxnSpLocks/>
            <a:stCxn id="186" idx="0"/>
            <a:endCxn id="187" idx="0"/>
          </p:cNvCxnSpPr>
          <p:nvPr/>
        </p:nvCxnSpPr>
        <p:spPr>
          <a:xfrm>
            <a:off x="3047888" y="3749342"/>
            <a:ext cx="0" cy="159097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983B8643-7914-4D18-8F23-0709C47636FD}"/>
              </a:ext>
            </a:extLst>
          </p:cNvPr>
          <p:cNvCxnSpPr>
            <a:cxnSpLocks/>
            <a:stCxn id="183" idx="0"/>
            <a:endCxn id="182" idx="0"/>
          </p:cNvCxnSpPr>
          <p:nvPr/>
        </p:nvCxnSpPr>
        <p:spPr>
          <a:xfrm>
            <a:off x="4352228" y="3757040"/>
            <a:ext cx="0" cy="151399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4F952898-8F72-4C34-84E5-237C96CED7A9}"/>
              </a:ext>
            </a:extLst>
          </p:cNvPr>
          <p:cNvCxnSpPr>
            <a:cxnSpLocks/>
            <a:stCxn id="181" idx="0"/>
            <a:endCxn id="180" idx="0"/>
          </p:cNvCxnSpPr>
          <p:nvPr/>
        </p:nvCxnSpPr>
        <p:spPr>
          <a:xfrm flipH="1">
            <a:off x="6529180" y="3757040"/>
            <a:ext cx="2729" cy="151399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F8F033EF-AE9A-42DF-ADF3-32C69846CE18}"/>
              </a:ext>
            </a:extLst>
          </p:cNvPr>
          <p:cNvCxnSpPr>
            <a:cxnSpLocks/>
            <a:stCxn id="179" idx="0"/>
            <a:endCxn id="178" idx="0"/>
          </p:cNvCxnSpPr>
          <p:nvPr/>
        </p:nvCxnSpPr>
        <p:spPr>
          <a:xfrm flipH="1">
            <a:off x="5535500" y="3757041"/>
            <a:ext cx="1697" cy="151400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EE013ABE-61D7-45CD-8997-09D865F75849}"/>
              </a:ext>
            </a:extLst>
          </p:cNvPr>
          <p:cNvCxnSpPr>
            <a:cxnSpLocks/>
            <a:stCxn id="185" idx="0"/>
            <a:endCxn id="184" idx="0"/>
          </p:cNvCxnSpPr>
          <p:nvPr/>
        </p:nvCxnSpPr>
        <p:spPr>
          <a:xfrm>
            <a:off x="7486519" y="3757041"/>
            <a:ext cx="44" cy="151400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83A9296E-A265-4AEE-8673-3F4438E22A3D}"/>
              </a:ext>
            </a:extLst>
          </p:cNvPr>
          <p:cNvCxnSpPr>
            <a:cxnSpLocks/>
            <a:stCxn id="177" idx="0"/>
            <a:endCxn id="176" idx="0"/>
          </p:cNvCxnSpPr>
          <p:nvPr/>
        </p:nvCxnSpPr>
        <p:spPr>
          <a:xfrm>
            <a:off x="8770739" y="3757041"/>
            <a:ext cx="59" cy="151400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1661E68F-8D59-4EB3-8E9C-CA5ED4D43C4B}"/>
              </a:ext>
            </a:extLst>
          </p:cNvPr>
          <p:cNvCxnSpPr>
            <a:cxnSpLocks/>
            <a:stCxn id="175" idx="0"/>
            <a:endCxn id="174" idx="0"/>
          </p:cNvCxnSpPr>
          <p:nvPr/>
        </p:nvCxnSpPr>
        <p:spPr>
          <a:xfrm>
            <a:off x="10172079" y="3757041"/>
            <a:ext cx="1" cy="151400"/>
          </a:xfrm>
          <a:prstGeom prst="line">
            <a:avLst/>
          </a:prstGeom>
          <a:ln w="19050"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174">
            <a:extLst>
              <a:ext uri="{FF2B5EF4-FFF2-40B4-BE49-F238E27FC236}">
                <a16:creationId xmlns:a16="http://schemas.microsoft.com/office/drawing/2014/main" id="{D89F9B68-BE4E-4EEE-80FF-9AF0477D39E1}"/>
              </a:ext>
            </a:extLst>
          </p:cNvPr>
          <p:cNvSpPr/>
          <p:nvPr/>
        </p:nvSpPr>
        <p:spPr bwMode="gray">
          <a:xfrm rot="10800000">
            <a:off x="10076104" y="3562523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ADB506DF-7EB3-4A5A-81E5-8ADFC6B9ED09}"/>
              </a:ext>
            </a:extLst>
          </p:cNvPr>
          <p:cNvSpPr/>
          <p:nvPr/>
        </p:nvSpPr>
        <p:spPr bwMode="gray">
          <a:xfrm rot="10800000">
            <a:off x="8674765" y="3562523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13362806-68FE-4D1B-85B8-BCA0D42717EA}"/>
              </a:ext>
            </a:extLst>
          </p:cNvPr>
          <p:cNvSpPr/>
          <p:nvPr/>
        </p:nvSpPr>
        <p:spPr bwMode="gray">
          <a:xfrm rot="10800000">
            <a:off x="5441224" y="3562523"/>
            <a:ext cx="191946" cy="1945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21EDDA1B-ACC7-4C44-8794-A72B542A776A}"/>
              </a:ext>
            </a:extLst>
          </p:cNvPr>
          <p:cNvSpPr/>
          <p:nvPr/>
        </p:nvSpPr>
        <p:spPr bwMode="gray">
          <a:xfrm rot="10800000">
            <a:off x="6435936" y="3562524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1E78164D-FDC8-46A2-8481-BE6BB2044D35}"/>
              </a:ext>
            </a:extLst>
          </p:cNvPr>
          <p:cNvSpPr/>
          <p:nvPr/>
        </p:nvSpPr>
        <p:spPr bwMode="gray">
          <a:xfrm rot="10800000">
            <a:off x="4256255" y="3562524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2AA1A136-819F-4212-9FE4-5D2158695BD4}"/>
              </a:ext>
            </a:extLst>
          </p:cNvPr>
          <p:cNvSpPr/>
          <p:nvPr/>
        </p:nvSpPr>
        <p:spPr bwMode="gray">
          <a:xfrm rot="10800000">
            <a:off x="7390546" y="3562523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DA630700-1EC0-40B5-A3F8-7B5585AFEA70}"/>
              </a:ext>
            </a:extLst>
          </p:cNvPr>
          <p:cNvSpPr/>
          <p:nvPr/>
        </p:nvSpPr>
        <p:spPr bwMode="gray">
          <a:xfrm rot="10800000">
            <a:off x="2951915" y="3554826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EE1CAF5D-C977-43B3-B82E-2D9AD05706EE}"/>
              </a:ext>
            </a:extLst>
          </p:cNvPr>
          <p:cNvSpPr/>
          <p:nvPr/>
        </p:nvSpPr>
        <p:spPr bwMode="gray">
          <a:xfrm rot="10800000">
            <a:off x="1605700" y="3562523"/>
            <a:ext cx="191946" cy="194518"/>
          </a:xfrm>
          <a:prstGeom prst="ellipse">
            <a:avLst/>
          </a:prstGeom>
          <a:solidFill>
            <a:schemeClr val="bg1"/>
          </a:solidFill>
          <a:ln w="38100" algn="ctr">
            <a:solidFill>
              <a:srgbClr val="008FD3"/>
            </a:solidFill>
            <a:miter lim="800000"/>
            <a:headEnd/>
            <a:tailEnd/>
          </a:ln>
        </p:spPr>
        <p:txBody>
          <a:bodyPr lIns="35981" tIns="71963" rIns="35981" bIns="71963"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199" kern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4" name="Rounded Rectangle 167">
            <a:extLst>
              <a:ext uri="{FF2B5EF4-FFF2-40B4-BE49-F238E27FC236}">
                <a16:creationId xmlns:a16="http://schemas.microsoft.com/office/drawing/2014/main" id="{B2C0EF7E-BB70-41BB-9FDB-68B4498E27C5}"/>
              </a:ext>
            </a:extLst>
          </p:cNvPr>
          <p:cNvSpPr/>
          <p:nvPr/>
        </p:nvSpPr>
        <p:spPr bwMode="gray">
          <a:xfrm>
            <a:off x="9567116" y="3908441"/>
            <a:ext cx="1209927" cy="47130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  <a:cs typeface="Arial Unicode MS" pitchFamily="34" charset="-128"/>
              </a:rPr>
              <a:t>Innovate, Operate, Support</a:t>
            </a:r>
          </a:p>
        </p:txBody>
      </p:sp>
      <p:sp>
        <p:nvSpPr>
          <p:cNvPr id="176" name="Rounded Rectangle 168">
            <a:extLst>
              <a:ext uri="{FF2B5EF4-FFF2-40B4-BE49-F238E27FC236}">
                <a16:creationId xmlns:a16="http://schemas.microsoft.com/office/drawing/2014/main" id="{6731F75E-87E1-404F-90E1-D3BA39885A1F}"/>
              </a:ext>
            </a:extLst>
          </p:cNvPr>
          <p:cNvSpPr/>
          <p:nvPr/>
        </p:nvSpPr>
        <p:spPr bwMode="gray">
          <a:xfrm>
            <a:off x="8194899" y="3908439"/>
            <a:ext cx="1151796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  <a:cs typeface="Arial Unicode MS" pitchFamily="34" charset="-128"/>
              </a:rPr>
              <a:t>Onboard Users and Deploy</a:t>
            </a:r>
          </a:p>
        </p:txBody>
      </p:sp>
      <p:sp>
        <p:nvSpPr>
          <p:cNvPr id="178" name="Rounded Rectangle 170">
            <a:extLst>
              <a:ext uri="{FF2B5EF4-FFF2-40B4-BE49-F238E27FC236}">
                <a16:creationId xmlns:a16="http://schemas.microsoft.com/office/drawing/2014/main" id="{A40221D3-C021-44C3-A1C6-ADA9FCCB2A41}"/>
              </a:ext>
            </a:extLst>
          </p:cNvPr>
          <p:cNvSpPr/>
          <p:nvPr/>
        </p:nvSpPr>
        <p:spPr bwMode="gray">
          <a:xfrm>
            <a:off x="5088438" y="3908439"/>
            <a:ext cx="894125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</a:rPr>
              <a:t>Configure, Play back</a:t>
            </a:r>
          </a:p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900" b="1" kern="0">
              <a:ea typeface="Arial Unicode MS" pitchFamily="34" charset="-128"/>
            </a:endParaRPr>
          </a:p>
        </p:txBody>
      </p:sp>
      <p:sp>
        <p:nvSpPr>
          <p:cNvPr id="180" name="Rounded Rectangle 171">
            <a:extLst>
              <a:ext uri="{FF2B5EF4-FFF2-40B4-BE49-F238E27FC236}">
                <a16:creationId xmlns:a16="http://schemas.microsoft.com/office/drawing/2014/main" id="{169F653A-EFE7-47BA-A743-0BA5E99B32D5}"/>
              </a:ext>
            </a:extLst>
          </p:cNvPr>
          <p:cNvSpPr/>
          <p:nvPr/>
        </p:nvSpPr>
        <p:spPr bwMode="gray">
          <a:xfrm>
            <a:off x="6082119" y="3908439"/>
            <a:ext cx="894125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</a:rPr>
              <a:t>Migrate, Integrate, Test</a:t>
            </a:r>
          </a:p>
        </p:txBody>
      </p:sp>
      <p:sp>
        <p:nvSpPr>
          <p:cNvPr id="182" name="Rounded Rectangle 169">
            <a:extLst>
              <a:ext uri="{FF2B5EF4-FFF2-40B4-BE49-F238E27FC236}">
                <a16:creationId xmlns:a16="http://schemas.microsoft.com/office/drawing/2014/main" id="{11757F8C-EA4F-4762-BE90-276B129097FB}"/>
              </a:ext>
            </a:extLst>
          </p:cNvPr>
          <p:cNvSpPr/>
          <p:nvPr/>
        </p:nvSpPr>
        <p:spPr bwMode="gray">
          <a:xfrm>
            <a:off x="3865448" y="3908439"/>
            <a:ext cx="973562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</a:rPr>
              <a:t>Fit-to-Standard Analysis</a:t>
            </a:r>
          </a:p>
        </p:txBody>
      </p:sp>
      <p:sp>
        <p:nvSpPr>
          <p:cNvPr id="184" name="Rounded Rectangle 171">
            <a:extLst>
              <a:ext uri="{FF2B5EF4-FFF2-40B4-BE49-F238E27FC236}">
                <a16:creationId xmlns:a16="http://schemas.microsoft.com/office/drawing/2014/main" id="{40C83263-25C4-4DF8-B377-42C270E055DB}"/>
              </a:ext>
            </a:extLst>
          </p:cNvPr>
          <p:cNvSpPr/>
          <p:nvPr/>
        </p:nvSpPr>
        <p:spPr bwMode="gray">
          <a:xfrm>
            <a:off x="7068609" y="3908439"/>
            <a:ext cx="835907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  <a:cs typeface="Arial Unicode MS" pitchFamily="34" charset="-128"/>
              </a:rPr>
              <a:t>Extend</a:t>
            </a:r>
          </a:p>
        </p:txBody>
      </p:sp>
      <p:sp>
        <p:nvSpPr>
          <p:cNvPr id="187" name="Rounded Rectangle 169">
            <a:extLst>
              <a:ext uri="{FF2B5EF4-FFF2-40B4-BE49-F238E27FC236}">
                <a16:creationId xmlns:a16="http://schemas.microsoft.com/office/drawing/2014/main" id="{179FDBB4-B6DF-41C0-954E-02DB71CCCCEF}"/>
              </a:ext>
            </a:extLst>
          </p:cNvPr>
          <p:cNvSpPr/>
          <p:nvPr/>
        </p:nvSpPr>
        <p:spPr bwMode="gray">
          <a:xfrm>
            <a:off x="2561108" y="3908439"/>
            <a:ext cx="973562" cy="471301"/>
          </a:xfrm>
          <a:prstGeom prst="roundRect">
            <a:avLst/>
          </a:prstGeom>
          <a:solidFill>
            <a:srgbClr val="00B0F0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</a:rPr>
              <a:t>Setup and Enablement</a:t>
            </a:r>
          </a:p>
        </p:txBody>
      </p:sp>
      <p:sp>
        <p:nvSpPr>
          <p:cNvPr id="189" name="Rounded Rectangle 169">
            <a:extLst>
              <a:ext uri="{FF2B5EF4-FFF2-40B4-BE49-F238E27FC236}">
                <a16:creationId xmlns:a16="http://schemas.microsoft.com/office/drawing/2014/main" id="{30321789-3C7D-4437-BE7A-8608E02A98EA}"/>
              </a:ext>
            </a:extLst>
          </p:cNvPr>
          <p:cNvSpPr/>
          <p:nvPr/>
        </p:nvSpPr>
        <p:spPr bwMode="gray">
          <a:xfrm>
            <a:off x="1212096" y="3908439"/>
            <a:ext cx="973562" cy="47130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b="1" kern="0">
                <a:ea typeface="Arial Unicode MS" pitchFamily="34" charset="-128"/>
                <a:cs typeface="Arial Unicode MS" pitchFamily="34" charset="-128"/>
              </a:rPr>
              <a:t>Discovery Assessment (Scope)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FB3473E-1CFB-E24E-AB48-1D2AF083F2DF}"/>
              </a:ext>
            </a:extLst>
          </p:cNvPr>
          <p:cNvCxnSpPr>
            <a:cxnSpLocks/>
            <a:stCxn id="91" idx="0"/>
          </p:cNvCxnSpPr>
          <p:nvPr/>
        </p:nvCxnSpPr>
        <p:spPr>
          <a:xfrm flipH="1" flipV="1">
            <a:off x="10346974" y="2035733"/>
            <a:ext cx="12132" cy="1540298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7C89963C-3D23-BC41-9D43-8AED6ED78263}"/>
              </a:ext>
            </a:extLst>
          </p:cNvPr>
          <p:cNvSpPr/>
          <p:nvPr/>
        </p:nvSpPr>
        <p:spPr>
          <a:xfrm>
            <a:off x="10377878" y="1858756"/>
            <a:ext cx="710081" cy="399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Update &amp; Upgrade</a:t>
            </a:r>
          </a:p>
        </p:txBody>
      </p:sp>
      <p:sp>
        <p:nvSpPr>
          <p:cNvPr id="91" name="Flowchart: Decision 133">
            <a:extLst>
              <a:ext uri="{FF2B5EF4-FFF2-40B4-BE49-F238E27FC236}">
                <a16:creationId xmlns:a16="http://schemas.microsoft.com/office/drawing/2014/main" id="{E516E6BE-A393-8540-BADB-CF44A7B427A1}"/>
              </a:ext>
            </a:extLst>
          </p:cNvPr>
          <p:cNvSpPr/>
          <p:nvPr/>
        </p:nvSpPr>
        <p:spPr bwMode="gray">
          <a:xfrm>
            <a:off x="10281724" y="3576032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4FFAFF53-DF10-E44A-985F-A415DF11B5D6}"/>
              </a:ext>
            </a:extLst>
          </p:cNvPr>
          <p:cNvSpPr/>
          <p:nvPr/>
        </p:nvSpPr>
        <p:spPr bwMode="gray">
          <a:xfrm>
            <a:off x="10302675" y="1908034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3" name="Flowchart: Decision 115">
            <a:extLst>
              <a:ext uri="{FF2B5EF4-FFF2-40B4-BE49-F238E27FC236}">
                <a16:creationId xmlns:a16="http://schemas.microsoft.com/office/drawing/2014/main" id="{FC2F0D1F-2D6A-8B4E-B2A4-1F59C6407D6F}"/>
              </a:ext>
            </a:extLst>
          </p:cNvPr>
          <p:cNvSpPr/>
          <p:nvPr/>
        </p:nvSpPr>
        <p:spPr bwMode="gray">
          <a:xfrm>
            <a:off x="10573514" y="3575626"/>
            <a:ext cx="154766" cy="193230"/>
          </a:xfrm>
          <a:prstGeom prst="flowChartDecision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6F871B5-0D95-0540-9EC4-D83993B77676}"/>
              </a:ext>
            </a:extLst>
          </p:cNvPr>
          <p:cNvCxnSpPr>
            <a:cxnSpLocks/>
            <a:stCxn id="93" idx="0"/>
          </p:cNvCxnSpPr>
          <p:nvPr/>
        </p:nvCxnSpPr>
        <p:spPr>
          <a:xfrm flipH="1" flipV="1">
            <a:off x="10643148" y="2606414"/>
            <a:ext cx="7748" cy="969211"/>
          </a:xfrm>
          <a:prstGeom prst="line">
            <a:avLst/>
          </a:prstGeom>
          <a:ln w="6350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5DC1FB8B-11C6-7D47-978C-810F06F3FC8E}"/>
              </a:ext>
            </a:extLst>
          </p:cNvPr>
          <p:cNvSpPr/>
          <p:nvPr/>
        </p:nvSpPr>
        <p:spPr bwMode="gray">
          <a:xfrm>
            <a:off x="10593096" y="2504490"/>
            <a:ext cx="107919" cy="107919"/>
          </a:xfrm>
          <a:prstGeom prst="ellipse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03A9432-BC66-294E-B3BF-260CFEF61E21}"/>
              </a:ext>
            </a:extLst>
          </p:cNvPr>
          <p:cNvSpPr/>
          <p:nvPr/>
        </p:nvSpPr>
        <p:spPr>
          <a:xfrm>
            <a:off x="10643148" y="2285773"/>
            <a:ext cx="862288" cy="5533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Activate new</a:t>
            </a:r>
            <a:b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scope / add</a:t>
            </a:r>
            <a:b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999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countries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A38E7B7-0C91-46FF-B6CC-F81E9F94889D}"/>
              </a:ext>
            </a:extLst>
          </p:cNvPr>
          <p:cNvCxnSpPr>
            <a:cxnSpLocks/>
            <a:stCxn id="133" idx="0"/>
            <a:endCxn id="109" idx="1"/>
          </p:cNvCxnSpPr>
          <p:nvPr/>
        </p:nvCxnSpPr>
        <p:spPr>
          <a:xfrm flipV="1">
            <a:off x="5881457" y="2162664"/>
            <a:ext cx="19535" cy="1401002"/>
          </a:xfrm>
          <a:prstGeom prst="line">
            <a:avLst/>
          </a:prstGeom>
          <a:ln w="6350">
            <a:solidFill>
              <a:srgbClr val="E355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:a16="http://schemas.microsoft.com/office/drawing/2014/main" id="{1D089341-2100-4626-9E1B-8DD388AB59FE}"/>
              </a:ext>
            </a:extLst>
          </p:cNvPr>
          <p:cNvSpPr/>
          <p:nvPr/>
        </p:nvSpPr>
        <p:spPr bwMode="gray">
          <a:xfrm>
            <a:off x="5834853" y="2104655"/>
            <a:ext cx="107919" cy="107919"/>
          </a:xfrm>
          <a:prstGeom prst="ellipse">
            <a:avLst/>
          </a:prstGeom>
          <a:solidFill>
            <a:srgbClr val="E35500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solidFill>
                <a:schemeClr val="accent1"/>
              </a:solidFill>
              <a:ea typeface="Arial Unicode MS" pitchFamily="34" charset="-128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7FCCF29-66EC-4B91-89A8-21F0673EAFF8}"/>
              </a:ext>
            </a:extLst>
          </p:cNvPr>
          <p:cNvSpPr/>
          <p:nvPr/>
        </p:nvSpPr>
        <p:spPr>
          <a:xfrm>
            <a:off x="5900992" y="2039681"/>
            <a:ext cx="1631328" cy="2459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OCM Delivery &amp; Monitoring</a:t>
            </a:r>
          </a:p>
        </p:txBody>
      </p:sp>
      <p:sp>
        <p:nvSpPr>
          <p:cNvPr id="133" name="Flowchart: Decision 132">
            <a:extLst>
              <a:ext uri="{FF2B5EF4-FFF2-40B4-BE49-F238E27FC236}">
                <a16:creationId xmlns:a16="http://schemas.microsoft.com/office/drawing/2014/main" id="{473FF422-565B-4CD2-9E3C-109C4C1AFF17}"/>
              </a:ext>
            </a:extLst>
          </p:cNvPr>
          <p:cNvSpPr/>
          <p:nvPr/>
        </p:nvSpPr>
        <p:spPr bwMode="gray">
          <a:xfrm>
            <a:off x="5804074" y="3563667"/>
            <a:ext cx="154766" cy="193230"/>
          </a:xfrm>
          <a:prstGeom prst="flowChartDecision">
            <a:avLst/>
          </a:prstGeom>
          <a:solidFill>
            <a:srgbClr val="E35500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4" name="Flowchart: Decision 103">
            <a:extLst>
              <a:ext uri="{FF2B5EF4-FFF2-40B4-BE49-F238E27FC236}">
                <a16:creationId xmlns:a16="http://schemas.microsoft.com/office/drawing/2014/main" id="{C1A60FCB-22B8-4A4F-BA23-6C70816EC12F}"/>
              </a:ext>
            </a:extLst>
          </p:cNvPr>
          <p:cNvSpPr/>
          <p:nvPr/>
        </p:nvSpPr>
        <p:spPr bwMode="gray">
          <a:xfrm>
            <a:off x="3231033" y="3595171"/>
            <a:ext cx="154766" cy="193230"/>
          </a:xfrm>
          <a:prstGeom prst="flowChartDecision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94000CE1-6710-4662-96E1-1BEA9C877C98}"/>
              </a:ext>
            </a:extLst>
          </p:cNvPr>
          <p:cNvSpPr/>
          <p:nvPr/>
        </p:nvSpPr>
        <p:spPr bwMode="gray">
          <a:xfrm>
            <a:off x="3271496" y="2190582"/>
            <a:ext cx="107919" cy="107919"/>
          </a:xfrm>
          <a:prstGeom prst="ellipse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</p:spPr>
        <p:txBody>
          <a:bodyPr lIns="89932" tIns="71946" rIns="89932" bIns="71946" rtlCol="0" anchor="ctr"/>
          <a:lstStyle/>
          <a:p>
            <a:pPr algn="ctr" defTabSz="91376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F7C2BEE6-AA1C-41BF-948B-E7292D8B0F81}"/>
              </a:ext>
            </a:extLst>
          </p:cNvPr>
          <p:cNvSpPr/>
          <p:nvPr/>
        </p:nvSpPr>
        <p:spPr>
          <a:xfrm>
            <a:off x="3182320" y="1839510"/>
            <a:ext cx="1731431" cy="399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99" kern="0">
                <a:ea typeface="Arial Unicode MS" pitchFamily="34" charset="-128"/>
                <a:cs typeface="Arial Unicode MS" pitchFamily="34" charset="-128"/>
              </a:rPr>
              <a:t>Cloud ALM &amp; Central Business Configur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7BB43324-8B0F-4268-A1CE-D9AEED8D3785}"/>
              </a:ext>
            </a:extLst>
          </p:cNvPr>
          <p:cNvCxnSpPr>
            <a:cxnSpLocks/>
            <a:stCxn id="104" idx="0"/>
            <a:endCxn id="105" idx="4"/>
          </p:cNvCxnSpPr>
          <p:nvPr/>
        </p:nvCxnSpPr>
        <p:spPr>
          <a:xfrm flipV="1">
            <a:off x="3308416" y="2298501"/>
            <a:ext cx="17040" cy="1296670"/>
          </a:xfrm>
          <a:prstGeom prst="line">
            <a:avLst/>
          </a:prstGeom>
          <a:ln w="635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0773FE07-D0F8-4315-992B-FEBEF868992C}"/>
              </a:ext>
            </a:extLst>
          </p:cNvPr>
          <p:cNvSpPr txBox="1"/>
          <p:nvPr/>
        </p:nvSpPr>
        <p:spPr>
          <a:xfrm>
            <a:off x="505326" y="4736315"/>
            <a:ext cx="1098988" cy="369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System </a:t>
            </a:r>
            <a:b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199" b="1" ker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Landscape</a:t>
            </a:r>
          </a:p>
        </p:txBody>
      </p:sp>
      <p:cxnSp>
        <p:nvCxnSpPr>
          <p:cNvPr id="119" name="Gerader Verbinder 7">
            <a:extLst>
              <a:ext uri="{FF2B5EF4-FFF2-40B4-BE49-F238E27FC236}">
                <a16:creationId xmlns:a16="http://schemas.microsoft.com/office/drawing/2014/main" id="{B10AD518-0DBB-415B-B9E4-59EC523B50C5}"/>
              </a:ext>
            </a:extLst>
          </p:cNvPr>
          <p:cNvCxnSpPr/>
          <p:nvPr/>
        </p:nvCxnSpPr>
        <p:spPr>
          <a:xfrm>
            <a:off x="470157" y="4557921"/>
            <a:ext cx="11215823" cy="0"/>
          </a:xfrm>
          <a:prstGeom prst="line">
            <a:avLst/>
          </a:prstGeom>
          <a:solidFill>
            <a:schemeClr val="bg1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</p:cxnSp>
      <p:pic>
        <p:nvPicPr>
          <p:cNvPr id="152" name="Picture 151">
            <a:extLst>
              <a:ext uri="{FF2B5EF4-FFF2-40B4-BE49-F238E27FC236}">
                <a16:creationId xmlns:a16="http://schemas.microsoft.com/office/drawing/2014/main" id="{55816688-29E1-4EBC-B6CD-42BB31F14D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5240" y="4164924"/>
            <a:ext cx="210691" cy="210691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AA49F62-BB8E-4244-A599-B087D5EF7EC4}"/>
              </a:ext>
            </a:extLst>
          </p:cNvPr>
          <p:cNvGrpSpPr/>
          <p:nvPr/>
        </p:nvGrpSpPr>
        <p:grpSpPr>
          <a:xfrm>
            <a:off x="2608854" y="4677314"/>
            <a:ext cx="7984241" cy="1766105"/>
            <a:chOff x="2608624" y="4677963"/>
            <a:chExt cx="7988399" cy="1767025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5141FFD6-2F98-464A-B500-96DA9A485B56}"/>
                </a:ext>
              </a:extLst>
            </p:cNvPr>
            <p:cNvSpPr/>
            <p:nvPr/>
          </p:nvSpPr>
          <p:spPr bwMode="gray">
            <a:xfrm>
              <a:off x="5099846" y="5287350"/>
              <a:ext cx="5497177" cy="229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>
                  <a:solidFill>
                    <a:srgbClr val="FFFFFF"/>
                  </a:solidFill>
                </a:rPr>
                <a:t>Test System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06C72B4-7F68-4E66-BEF9-F2F4D04C34DF}"/>
                </a:ext>
              </a:extLst>
            </p:cNvPr>
            <p:cNvSpPr/>
            <p:nvPr/>
          </p:nvSpPr>
          <p:spPr bwMode="gray">
            <a:xfrm>
              <a:off x="5317635" y="5587470"/>
              <a:ext cx="5279388" cy="21595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 algn="ctr">
              <a:noFill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>
                  <a:solidFill>
                    <a:srgbClr val="FFFFFF"/>
                  </a:solidFill>
                </a:rPr>
                <a:t>Production System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E1DE9FA-BC1E-476F-B856-5598FDE7AE81}"/>
                </a:ext>
              </a:extLst>
            </p:cNvPr>
            <p:cNvSpPr/>
            <p:nvPr/>
          </p:nvSpPr>
          <p:spPr bwMode="gray">
            <a:xfrm>
              <a:off x="2951863" y="4685473"/>
              <a:ext cx="2853644" cy="2527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>
                  <a:solidFill>
                    <a:srgbClr val="FFFFFF"/>
                  </a:solidFill>
                </a:rPr>
                <a:t>Starter System</a:t>
              </a:r>
            </a:p>
          </p:txBody>
        </p:sp>
        <p:sp>
          <p:nvSpPr>
            <p:cNvPr id="123" name="Arrow: Bent 122">
              <a:extLst>
                <a:ext uri="{FF2B5EF4-FFF2-40B4-BE49-F238E27FC236}">
                  <a16:creationId xmlns:a16="http://schemas.microsoft.com/office/drawing/2014/main" id="{B1CF1FC2-97A2-4F7F-BA15-3323C16FA88F}"/>
                </a:ext>
              </a:extLst>
            </p:cNvPr>
            <p:cNvSpPr/>
            <p:nvPr/>
          </p:nvSpPr>
          <p:spPr bwMode="gray">
            <a:xfrm flipV="1">
              <a:off x="5156044" y="5297805"/>
              <a:ext cx="269781" cy="483325"/>
            </a:xfrm>
            <a:prstGeom prst="bentArrow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89932" tIns="71946" rIns="89932" bIns="71946" rtlCol="0" anchor="ctr"/>
            <a:lstStyle/>
            <a:p>
              <a:pPr algn="ctr" defTabSz="91376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999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8742205-8003-4C80-9551-F659695AD38B}"/>
                </a:ext>
              </a:extLst>
            </p:cNvPr>
            <p:cNvSpPr txBox="1"/>
            <p:nvPr/>
          </p:nvSpPr>
          <p:spPr>
            <a:xfrm>
              <a:off x="4583828" y="5854236"/>
              <a:ext cx="1414212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049" kern="0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Initial Transport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3750146-FB2A-4146-BFE5-2310CD7F5C73}"/>
                </a:ext>
              </a:extLst>
            </p:cNvPr>
            <p:cNvSpPr txBox="1"/>
            <p:nvPr/>
          </p:nvSpPr>
          <p:spPr>
            <a:xfrm>
              <a:off x="9026441" y="5828140"/>
              <a:ext cx="1527580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ts val="6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049" kern="0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Ongoing Transports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03FFD5C6-E84C-4798-ABCA-045F73E68672}"/>
                </a:ext>
              </a:extLst>
            </p:cNvPr>
            <p:cNvSpPr/>
            <p:nvPr/>
          </p:nvSpPr>
          <p:spPr bwMode="gray">
            <a:xfrm>
              <a:off x="5112976" y="5013485"/>
              <a:ext cx="5484047" cy="21694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>
                  <a:solidFill>
                    <a:srgbClr val="FFFFFF"/>
                  </a:solidFill>
                </a:rPr>
                <a:t>Development System</a:t>
              </a:r>
            </a:p>
          </p:txBody>
        </p:sp>
        <p:sp>
          <p:nvSpPr>
            <p:cNvPr id="142" name="Arrow: Bent 141">
              <a:extLst>
                <a:ext uri="{FF2B5EF4-FFF2-40B4-BE49-F238E27FC236}">
                  <a16:creationId xmlns:a16="http://schemas.microsoft.com/office/drawing/2014/main" id="{06A7B03F-97B3-400A-8048-80AAA4027C38}"/>
                </a:ext>
              </a:extLst>
            </p:cNvPr>
            <p:cNvSpPr/>
            <p:nvPr/>
          </p:nvSpPr>
          <p:spPr bwMode="gray">
            <a:xfrm flipV="1">
              <a:off x="5156043" y="5180922"/>
              <a:ext cx="269781" cy="333441"/>
            </a:xfrm>
            <a:prstGeom prst="bentArrow">
              <a:avLst>
                <a:gd name="adj1" fmla="val 25000"/>
                <a:gd name="adj2" fmla="val 25000"/>
                <a:gd name="adj3" fmla="val 25000"/>
                <a:gd name="adj4" fmla="val 43750"/>
              </a:avLst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89932" tIns="71946" rIns="89932" bIns="71946" rtlCol="0" anchor="ctr"/>
            <a:lstStyle/>
            <a:p>
              <a:pPr algn="ctr" defTabSz="91376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999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3" name="Arrow: Down 142">
              <a:extLst>
                <a:ext uri="{FF2B5EF4-FFF2-40B4-BE49-F238E27FC236}">
                  <a16:creationId xmlns:a16="http://schemas.microsoft.com/office/drawing/2014/main" id="{DF53E612-85FB-4D22-B329-29152D013586}"/>
                </a:ext>
              </a:extLst>
            </p:cNvPr>
            <p:cNvSpPr/>
            <p:nvPr/>
          </p:nvSpPr>
          <p:spPr bwMode="gray">
            <a:xfrm>
              <a:off x="10100474" y="5143140"/>
              <a:ext cx="162940" cy="487503"/>
            </a:xfrm>
            <a:prstGeom prst="downArrow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89932" tIns="71946" rIns="89932" bIns="71946" rtlCol="0" anchor="ctr"/>
            <a:lstStyle/>
            <a:p>
              <a:pPr algn="ctr" defTabSz="91376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999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4" name="Arrow: Down 4">
              <a:extLst>
                <a:ext uri="{FF2B5EF4-FFF2-40B4-BE49-F238E27FC236}">
                  <a16:creationId xmlns:a16="http://schemas.microsoft.com/office/drawing/2014/main" id="{3DE28AD2-F982-4F43-8C29-EFBB2C5BA750}"/>
                </a:ext>
              </a:extLst>
            </p:cNvPr>
            <p:cNvSpPr/>
            <p:nvPr/>
          </p:nvSpPr>
          <p:spPr bwMode="gray">
            <a:xfrm>
              <a:off x="8837684" y="5143140"/>
              <a:ext cx="162940" cy="525286"/>
            </a:xfrm>
            <a:prstGeom prst="downArrow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89932" tIns="71946" rIns="89932" bIns="71946" rtlCol="0" anchor="ctr"/>
            <a:lstStyle/>
            <a:p>
              <a:pPr algn="ctr" defTabSz="91376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999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5" name="Arrow: Down 4">
              <a:extLst>
                <a:ext uri="{FF2B5EF4-FFF2-40B4-BE49-F238E27FC236}">
                  <a16:creationId xmlns:a16="http://schemas.microsoft.com/office/drawing/2014/main" id="{24247076-4338-4426-834C-A69C53CF2DA5}"/>
                </a:ext>
              </a:extLst>
            </p:cNvPr>
            <p:cNvSpPr/>
            <p:nvPr/>
          </p:nvSpPr>
          <p:spPr bwMode="gray">
            <a:xfrm>
              <a:off x="9469079" y="5143140"/>
              <a:ext cx="162940" cy="487503"/>
            </a:xfrm>
            <a:prstGeom prst="downArrow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89932" tIns="71946" rIns="89932" bIns="71946" rtlCol="0" anchor="ctr"/>
            <a:lstStyle/>
            <a:p>
              <a:pPr algn="ctr" defTabSz="91376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999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06AE1554-954E-48D8-A9E5-3FBEA9046453}"/>
                </a:ext>
              </a:extLst>
            </p:cNvPr>
            <p:cNvSpPr/>
            <p:nvPr/>
          </p:nvSpPr>
          <p:spPr bwMode="gray">
            <a:xfrm>
              <a:off x="2951863" y="6025468"/>
              <a:ext cx="7645160" cy="16932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/>
                <a:t>SAP Central Business Configuration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888D9DCB-644A-472C-99E4-D6C596B2AA45}"/>
                </a:ext>
              </a:extLst>
            </p:cNvPr>
            <p:cNvSpPr/>
            <p:nvPr/>
          </p:nvSpPr>
          <p:spPr bwMode="gray">
            <a:xfrm>
              <a:off x="2714156" y="6251661"/>
              <a:ext cx="7882867" cy="1543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71946" rIns="0" bIns="71946" rtlCol="0" anchor="ctr"/>
            <a:lstStyle/>
            <a:p>
              <a:pPr algn="ctr"/>
              <a:r>
                <a:rPr lang="en-US" sz="999"/>
                <a:t>SAP Cloud ALM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8D3A4631-EA2B-BD48-A977-221868D53940}"/>
                </a:ext>
              </a:extLst>
            </p:cNvPr>
            <p:cNvSpPr/>
            <p:nvPr/>
          </p:nvSpPr>
          <p:spPr bwMode="gray">
            <a:xfrm rot="16200000">
              <a:off x="2033441" y="5331829"/>
              <a:ext cx="1512612" cy="204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71946" rIns="0" bIns="71946" rtlCol="0" anchor="ctr"/>
            <a:lstStyle/>
            <a:p>
              <a:pPr algn="ctr"/>
              <a:r>
                <a:rPr lang="en-US" sz="999"/>
                <a:t>SAP for Me</a:t>
              </a: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73DFD8A2-0229-D246-A59F-B767B014D83D}"/>
                </a:ext>
              </a:extLst>
            </p:cNvPr>
            <p:cNvSpPr/>
            <p:nvPr/>
          </p:nvSpPr>
          <p:spPr>
            <a:xfrm>
              <a:off x="2608624" y="6239095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B8B6021F-4269-D442-A556-4F89BEC8FBDB}"/>
                </a:ext>
              </a:extLst>
            </p:cNvPr>
            <p:cNvSpPr/>
            <p:nvPr/>
          </p:nvSpPr>
          <p:spPr>
            <a:xfrm>
              <a:off x="3086059" y="6025723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BAB0B470-A636-9B4B-8351-A0F3D95E58C2}"/>
                </a:ext>
              </a:extLst>
            </p:cNvPr>
            <p:cNvSpPr/>
            <p:nvPr/>
          </p:nvSpPr>
          <p:spPr>
            <a:xfrm>
              <a:off x="2670020" y="5817086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C0A1A0E1-7D97-4848-BA65-12E82A93A57E}"/>
                </a:ext>
              </a:extLst>
            </p:cNvPr>
            <p:cNvSpPr/>
            <p:nvPr/>
          </p:nvSpPr>
          <p:spPr>
            <a:xfrm>
              <a:off x="3077341" y="4700683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153" name="Oval 152">
              <a:extLst>
                <a:ext uri="{FF2B5EF4-FFF2-40B4-BE49-F238E27FC236}">
                  <a16:creationId xmlns:a16="http://schemas.microsoft.com/office/drawing/2014/main" id="{3BE47177-E789-9A46-8ABE-379B02C8E7E6}"/>
                </a:ext>
              </a:extLst>
            </p:cNvPr>
            <p:cNvSpPr/>
            <p:nvPr/>
          </p:nvSpPr>
          <p:spPr>
            <a:xfrm>
              <a:off x="5492290" y="5018589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1CD344B5-5F3D-4249-A195-40C28FF72827}"/>
                </a:ext>
              </a:extLst>
            </p:cNvPr>
            <p:cNvSpPr/>
            <p:nvPr/>
          </p:nvSpPr>
          <p:spPr>
            <a:xfrm>
              <a:off x="5492290" y="5303092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676E4703-8C8F-9E4B-87C3-FBF670E37451}"/>
                </a:ext>
              </a:extLst>
            </p:cNvPr>
            <p:cNvSpPr/>
            <p:nvPr/>
          </p:nvSpPr>
          <p:spPr>
            <a:xfrm>
              <a:off x="5492290" y="5589798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7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274EAAE-E9D5-144C-90E1-B0843A8C32EE}"/>
              </a:ext>
            </a:extLst>
          </p:cNvPr>
          <p:cNvGrpSpPr/>
          <p:nvPr/>
        </p:nvGrpSpPr>
        <p:grpSpPr>
          <a:xfrm>
            <a:off x="435970" y="6134740"/>
            <a:ext cx="1489313" cy="205786"/>
            <a:chOff x="434607" y="6136148"/>
            <a:chExt cx="1490089" cy="205893"/>
          </a:xfrm>
        </p:grpSpPr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9E54BD21-A2C6-4242-8BCE-BFC30487082B}"/>
                </a:ext>
              </a:extLst>
            </p:cNvPr>
            <p:cNvSpPr/>
            <p:nvPr/>
          </p:nvSpPr>
          <p:spPr>
            <a:xfrm>
              <a:off x="434607" y="6136148"/>
              <a:ext cx="210093" cy="20589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49" b="1">
                  <a:solidFill>
                    <a:schemeClr val="tx1"/>
                  </a:solidFill>
                </a:rPr>
                <a:t>x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BD73278-A49F-104F-80AA-6F65B2BCFC7A}"/>
                </a:ext>
              </a:extLst>
            </p:cNvPr>
            <p:cNvSpPr txBox="1"/>
            <p:nvPr/>
          </p:nvSpPr>
          <p:spPr>
            <a:xfrm>
              <a:off x="741680" y="6190575"/>
              <a:ext cx="118301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900" kern="0">
                  <a:ea typeface="Arial Unicode MS" pitchFamily="34" charset="-128"/>
                  <a:cs typeface="Arial Unicode MS" pitchFamily="34" charset="-128"/>
                </a:rPr>
                <a:t>Sequence of provisio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773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">
            <a:extLst>
              <a:ext uri="{FF2B5EF4-FFF2-40B4-BE49-F238E27FC236}">
                <a16:creationId xmlns:a16="http://schemas.microsoft.com/office/drawing/2014/main" id="{9E4E507E-D14B-43E4-944D-2C05B74D0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797"/>
            <a:ext cx="11183564" cy="369236"/>
          </a:xfrm>
        </p:spPr>
        <p:txBody>
          <a:bodyPr>
            <a:noAutofit/>
          </a:bodyPr>
          <a:lstStyle/>
          <a:p>
            <a:r>
              <a:rPr lang="en-GB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oud Mindset – key ingredient for success </a:t>
            </a:r>
            <a:endParaRPr lang="en-DE" sz="2800" b="1" dirty="0">
              <a:solidFill>
                <a:srgbClr val="FF4E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75D2F13B-EBDB-4C1D-819C-A5BE34C04321}"/>
              </a:ext>
            </a:extLst>
          </p:cNvPr>
          <p:cNvSpPr txBox="1"/>
          <p:nvPr/>
        </p:nvSpPr>
        <p:spPr>
          <a:xfrm>
            <a:off x="542250" y="1001842"/>
            <a:ext cx="11107500" cy="4264411"/>
          </a:xfrm>
          <a:prstGeom prst="rect">
            <a:avLst/>
          </a:prstGeom>
        </p:spPr>
        <p:txBody>
          <a:bodyPr vert="horz" wrap="square" lIns="0" tIns="16929" rIns="0" bIns="0" rtlCol="0">
            <a:spAutoFit/>
          </a:bodyPr>
          <a:lstStyle/>
          <a:p>
            <a:pPr marL="380990" marR="308932" indent="-380990">
              <a:buFont typeface="Arial" panose="020B0604020202020204" pitchFamily="34" charset="0"/>
              <a:buChar char="•"/>
            </a:pPr>
            <a:r>
              <a:rPr sz="2400" dirty="0">
                <a:latin typeface="Arial" panose="020B0604020202020204" pitchFamily="34" charset="0"/>
                <a:cs typeface="Arial" panose="020B0604020202020204" pitchFamily="34" charset="0"/>
              </a:rPr>
              <a:t>A fundamental new way of thinking in the cloud era. It requires the ability to rapidly adopt standard best practices and leverage cloud technology to engage in continuous innova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marR="308932" indent="-380990">
              <a:buFont typeface="Arial" panose="020B0604020202020204" pitchFamily="34" charset="0"/>
              <a:buChar char="•"/>
            </a:pPr>
            <a:r>
              <a:rPr sz="2400" dirty="0">
                <a:latin typeface="Arial" panose="020B0604020202020204" pitchFamily="34" charset="0"/>
                <a:cs typeface="Arial" panose="020B0604020202020204" pitchFamily="34" charset="0"/>
              </a:rPr>
              <a:t>The adoption of a cloud mindset enables an organization to achieve higher agility, flexibility and collaboration thereby optimize the use of business and technological innovations that the cloud offer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marR="308932" indent="-380990"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0990" marR="308932" indent="-38099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ustomer committed to cloud mindset embrace:</a:t>
            </a:r>
          </a:p>
          <a:p>
            <a:pPr marL="609585" lvl="2" indent="-380761" defTabSz="1450370" fontAlgn="base">
              <a:spcAft>
                <a:spcPct val="0"/>
              </a:spcAft>
              <a:buClr>
                <a:srgbClr val="F0AB00"/>
              </a:buClr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opting standard processes</a:t>
            </a:r>
          </a:p>
          <a:p>
            <a:pPr marL="609585" lvl="2" indent="-380761" defTabSz="1450370" fontAlgn="base">
              <a:spcAft>
                <a:spcPct val="0"/>
              </a:spcAft>
              <a:buClr>
                <a:srgbClr val="F0AB00"/>
              </a:buClr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unning the solution in a SAP selected Data Center</a:t>
            </a:r>
          </a:p>
          <a:p>
            <a:pPr marL="609585" lvl="2" indent="-380761" defTabSz="1450370" fontAlgn="base">
              <a:spcAft>
                <a:spcPct val="0"/>
              </a:spcAft>
              <a:buClr>
                <a:srgbClr val="F0AB00"/>
              </a:buClr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ccepting innovation and update cycles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3449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hlinkClick r:id="rId3"/>
            <a:extLst>
              <a:ext uri="{FF2B5EF4-FFF2-40B4-BE49-F238E27FC236}">
                <a16:creationId xmlns:a16="http://schemas.microsoft.com/office/drawing/2014/main" id="{00113EA3-C5AD-4FA9-B814-217291991F1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48782" y="1520329"/>
            <a:ext cx="7016989" cy="394705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5F7E523-51C8-45A2-84A6-1E43389043B2}"/>
              </a:ext>
            </a:extLst>
          </p:cNvPr>
          <p:cNvSpPr txBox="1"/>
          <p:nvPr/>
        </p:nvSpPr>
        <p:spPr>
          <a:xfrm>
            <a:off x="7761937" y="1942766"/>
            <a:ext cx="4067100" cy="2461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S/4HANA Cloud, public edition Trial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217E52-E55B-4E00-9161-A2D88315D834}"/>
              </a:ext>
            </a:extLst>
          </p:cNvPr>
          <p:cNvGrpSpPr/>
          <p:nvPr/>
        </p:nvGrpSpPr>
        <p:grpSpPr>
          <a:xfrm>
            <a:off x="8013507" y="2329053"/>
            <a:ext cx="3281051" cy="663786"/>
            <a:chOff x="8142055" y="2368682"/>
            <a:chExt cx="3281905" cy="663959"/>
          </a:xfrm>
        </p:grpSpPr>
        <p:sp>
          <p:nvSpPr>
            <p:cNvPr id="8" name="Rechteck 22">
              <a:extLst>
                <a:ext uri="{FF2B5EF4-FFF2-40B4-BE49-F238E27FC236}">
                  <a16:creationId xmlns:a16="http://schemas.microsoft.com/office/drawing/2014/main" id="{16ABEB56-59A9-4811-BD71-AB43B884392F}"/>
                </a:ext>
              </a:extLst>
            </p:cNvPr>
            <p:cNvSpPr/>
            <p:nvPr/>
          </p:nvSpPr>
          <p:spPr>
            <a:xfrm>
              <a:off x="8849623" y="2386310"/>
              <a:ext cx="2574337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6348" lvl="1" defTabSz="914126">
                <a:spcBef>
                  <a:spcPts val="2999"/>
                </a:spcBef>
                <a:spcAft>
                  <a:spcPts val="600"/>
                </a:spcAft>
                <a:buClr>
                  <a:srgbClr val="FDB913"/>
                </a:buClr>
                <a:defRPr/>
              </a:pPr>
              <a:r>
                <a:rPr lang="en-US" sz="1400" b="1" kern="0" dirty="0">
                  <a:solidFill>
                    <a:srgbClr val="008FD3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ee of Charge </a:t>
              </a:r>
              <a:br>
                <a:rPr lang="en-US" sz="1400" b="1" kern="0" dirty="0">
                  <a:solidFill>
                    <a:srgbClr val="008FD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st a real SAP S/4HANA Cloud system 14 days for free.  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98A22E0-6705-4431-A354-021B42F3E3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42055" y="2368682"/>
              <a:ext cx="540000" cy="540000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841D4DA-CFDD-426C-87B0-2F6E814A9FE1}"/>
              </a:ext>
            </a:extLst>
          </p:cNvPr>
          <p:cNvGrpSpPr/>
          <p:nvPr/>
        </p:nvGrpSpPr>
        <p:grpSpPr>
          <a:xfrm>
            <a:off x="8013507" y="3144149"/>
            <a:ext cx="3281051" cy="646615"/>
            <a:chOff x="8142055" y="3280949"/>
            <a:chExt cx="3281905" cy="646783"/>
          </a:xfrm>
        </p:grpSpPr>
        <p:sp>
          <p:nvSpPr>
            <p:cNvPr id="11" name="Rechteck 23">
              <a:extLst>
                <a:ext uri="{FF2B5EF4-FFF2-40B4-BE49-F238E27FC236}">
                  <a16:creationId xmlns:a16="http://schemas.microsoft.com/office/drawing/2014/main" id="{E64E3DAA-3E7B-44EF-9F96-925A35E55C21}"/>
                </a:ext>
              </a:extLst>
            </p:cNvPr>
            <p:cNvSpPr/>
            <p:nvPr/>
          </p:nvSpPr>
          <p:spPr>
            <a:xfrm>
              <a:off x="8849623" y="3281401"/>
              <a:ext cx="2574337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6348" lvl="1" defTabSz="914126">
                <a:spcBef>
                  <a:spcPts val="2999"/>
                </a:spcBef>
                <a:spcAft>
                  <a:spcPts val="600"/>
                </a:spcAft>
                <a:buClr>
                  <a:srgbClr val="FDB913"/>
                </a:buClr>
                <a:defRPr/>
              </a:pPr>
              <a:r>
                <a:rPr lang="en-US" sz="1400" b="1" kern="0" dirty="0">
                  <a:solidFill>
                    <a:srgbClr val="008FD3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d Tours</a:t>
              </a:r>
              <a:br>
                <a:rPr lang="en-US" sz="1400" b="1" kern="0" dirty="0">
                  <a:solidFill>
                    <a:srgbClr val="008FD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lore the solution highlights along expert-curated scenarios.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F462F77B-21CF-4782-82C2-FE9DE5F131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42055" y="3280949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E1B48C7-5BB2-46F4-A39B-77CFB5509B00}"/>
              </a:ext>
            </a:extLst>
          </p:cNvPr>
          <p:cNvGrpSpPr/>
          <p:nvPr/>
        </p:nvGrpSpPr>
        <p:grpSpPr>
          <a:xfrm>
            <a:off x="8024521" y="3942074"/>
            <a:ext cx="3270036" cy="657177"/>
            <a:chOff x="8153072" y="4163635"/>
            <a:chExt cx="3270888" cy="657348"/>
          </a:xfrm>
        </p:grpSpPr>
        <p:sp>
          <p:nvSpPr>
            <p:cNvPr id="14" name="Rechteck 24">
              <a:extLst>
                <a:ext uri="{FF2B5EF4-FFF2-40B4-BE49-F238E27FC236}">
                  <a16:creationId xmlns:a16="http://schemas.microsoft.com/office/drawing/2014/main" id="{99637131-B51C-4124-8591-A534344E3D3B}"/>
                </a:ext>
              </a:extLst>
            </p:cNvPr>
            <p:cNvSpPr/>
            <p:nvPr/>
          </p:nvSpPr>
          <p:spPr>
            <a:xfrm>
              <a:off x="8849623" y="4174652"/>
              <a:ext cx="2574337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6348" lvl="1" defTabSz="914126">
                <a:spcBef>
                  <a:spcPts val="2999"/>
                </a:spcBef>
                <a:spcAft>
                  <a:spcPts val="600"/>
                </a:spcAft>
                <a:buClr>
                  <a:srgbClr val="FDB913"/>
                </a:buClr>
                <a:defRPr/>
              </a:pPr>
              <a:r>
                <a:rPr lang="en-US" sz="1400" b="1" kern="0" dirty="0">
                  <a:solidFill>
                    <a:srgbClr val="008FD3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Scope </a:t>
              </a:r>
              <a:br>
                <a:rPr lang="en-US" sz="1400" b="1" kern="0" dirty="0">
                  <a:solidFill>
                    <a:srgbClr val="008FD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 a broad range of processes across Finance and Logistics. 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102BFF9-110C-4332-BC26-31142EEC6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53072" y="4163635"/>
              <a:ext cx="540522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D3D43B3-4C51-4EA4-A9CC-D68F58AECB0A}"/>
              </a:ext>
            </a:extLst>
          </p:cNvPr>
          <p:cNvGrpSpPr/>
          <p:nvPr/>
        </p:nvGrpSpPr>
        <p:grpSpPr>
          <a:xfrm>
            <a:off x="8036057" y="4750562"/>
            <a:ext cx="3258500" cy="686053"/>
            <a:chOff x="8164611" y="5024287"/>
            <a:chExt cx="3259349" cy="686232"/>
          </a:xfrm>
        </p:grpSpPr>
        <p:sp>
          <p:nvSpPr>
            <p:cNvPr id="17" name="Rechteck 25">
              <a:extLst>
                <a:ext uri="{FF2B5EF4-FFF2-40B4-BE49-F238E27FC236}">
                  <a16:creationId xmlns:a16="http://schemas.microsoft.com/office/drawing/2014/main" id="{78D3FAF6-0549-43E8-8163-F4390E23EBA1}"/>
                </a:ext>
              </a:extLst>
            </p:cNvPr>
            <p:cNvSpPr/>
            <p:nvPr/>
          </p:nvSpPr>
          <p:spPr>
            <a:xfrm>
              <a:off x="8849623" y="5064188"/>
              <a:ext cx="2574337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6348" lvl="1" defTabSz="914126">
                <a:spcBef>
                  <a:spcPts val="2999"/>
                </a:spcBef>
                <a:spcAft>
                  <a:spcPts val="600"/>
                </a:spcAft>
                <a:buClr>
                  <a:srgbClr val="FDB913"/>
                </a:buClr>
                <a:defRPr/>
              </a:pPr>
              <a:r>
                <a:rPr lang="en-US" sz="1400" b="1" kern="0">
                  <a:solidFill>
                    <a:srgbClr val="008FD3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lementary Content</a:t>
              </a:r>
              <a:br>
                <a:rPr lang="en-US" sz="1400" kern="0">
                  <a:solidFill>
                    <a:srgbClr val="008FD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me complementary content linked in the trial. </a:t>
              </a: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87A1752-F8D4-46FE-9B7C-C8668CC20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64611" y="5024287"/>
              <a:ext cx="540000" cy="540000"/>
            </a:xfrm>
            <a:prstGeom prst="rect">
              <a:avLst/>
            </a:prstGeom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4C110223-9599-4BA9-8F4A-386D4E8CB4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57747" y="5071181"/>
            <a:ext cx="719813" cy="71981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21715FFA-2F5C-44EC-8CC2-BF0E4C2489D1}"/>
              </a:ext>
            </a:extLst>
          </p:cNvPr>
          <p:cNvSpPr txBox="1"/>
          <p:nvPr/>
        </p:nvSpPr>
        <p:spPr>
          <a:xfrm>
            <a:off x="4477560" y="5615120"/>
            <a:ext cx="2738486" cy="3692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2399" b="1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hlinkClick r:id="rId3"/>
              </a:rPr>
              <a:t>Get started now!</a:t>
            </a:r>
            <a:endParaRPr lang="en-US" sz="2399" b="1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011F319-3082-44C8-9856-09B27928FD33}"/>
              </a:ext>
            </a:extLst>
          </p:cNvPr>
          <p:cNvSpPr txBox="1">
            <a:spLocks/>
          </p:cNvSpPr>
          <p:nvPr/>
        </p:nvSpPr>
        <p:spPr bwMode="black">
          <a:xfrm>
            <a:off x="110994" y="76975"/>
            <a:ext cx="1118356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912">
              <a:defRPr/>
            </a:pPr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 started now with free trial version</a:t>
            </a:r>
            <a:r>
              <a:rPr lang="en-US" sz="1799" b="0" spc="-50" dirty="0">
                <a:ln w="3175">
                  <a:noFill/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874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595716B-4775-4C1B-B03B-3E1D32C6B948}"/>
              </a:ext>
            </a:extLst>
          </p:cNvPr>
          <p:cNvSpPr txBox="1">
            <a:spLocks/>
          </p:cNvSpPr>
          <p:nvPr/>
        </p:nvSpPr>
        <p:spPr bwMode="black">
          <a:xfrm>
            <a:off x="134115" y="136209"/>
            <a:ext cx="11163198" cy="67698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stomer </a:t>
            </a:r>
            <a:r>
              <a:rPr lang="en" sz="280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ipping Book</a:t>
            </a:r>
            <a:endParaRPr lang="en" sz="2800" dirty="0">
              <a:solidFill>
                <a:srgbClr val="FF4E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sz="1599" dirty="0">
              <a:solidFill>
                <a:schemeClr val="accent1"/>
              </a:solidFill>
            </a:endParaRPr>
          </a:p>
        </p:txBody>
      </p:sp>
      <p:pic>
        <p:nvPicPr>
          <p:cNvPr id="3" name="Picture 8" descr="Qr code&#10;&#10;Description automatically generated">
            <a:extLst>
              <a:ext uri="{FF2B5EF4-FFF2-40B4-BE49-F238E27FC236}">
                <a16:creationId xmlns:a16="http://schemas.microsoft.com/office/drawing/2014/main" id="{08B59E7C-A97F-9633-CA8F-CE621D694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714" y="676426"/>
            <a:ext cx="4089298" cy="550514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768B36B-5430-61B2-A1D6-A8DD98BB76AA}"/>
              </a:ext>
            </a:extLst>
          </p:cNvPr>
          <p:cNvSpPr txBox="1"/>
          <p:nvPr/>
        </p:nvSpPr>
        <p:spPr>
          <a:xfrm>
            <a:off x="65922" y="2589472"/>
            <a:ext cx="564979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u="sng" kern="0" dirty="0">
                <a:solidFill>
                  <a:srgbClr val="0070C0"/>
                </a:solidFill>
                <a:latin typeface="Arial" panose="020B0604020202020204" pitchFamily="34" charset="0"/>
                <a:ea typeface="Arial Unicode MS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dy-To-Run Customer Flipping Book</a:t>
            </a:r>
            <a:r>
              <a:rPr lang="en-US" sz="2400" b="1" u="sng" kern="0" dirty="0">
                <a:solidFill>
                  <a:srgbClr val="0070C0"/>
                </a:solidFill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 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31175B7-7FB0-2350-B25E-A2BC55C3BCFB}"/>
              </a:ext>
            </a:extLst>
          </p:cNvPr>
          <p:cNvSpPr/>
          <p:nvPr/>
        </p:nvSpPr>
        <p:spPr>
          <a:xfrm>
            <a:off x="228708" y="4466897"/>
            <a:ext cx="5184119" cy="882869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 about GROW with SAP at </a:t>
            </a:r>
            <a:r>
              <a:rPr lang="en-US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sap.com/products/erp/grow.html</a:t>
            </a:r>
            <a:endParaRPr lang="en-US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7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369C76-8FE2-4845-A223-DAB9128430C4}"/>
              </a:ext>
            </a:extLst>
          </p:cNvPr>
          <p:cNvSpPr/>
          <p:nvPr/>
        </p:nvSpPr>
        <p:spPr>
          <a:xfrm>
            <a:off x="1057155" y="2503951"/>
            <a:ext cx="85382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or questions after this session, contact me at Anurag.barua@sap.com</a:t>
            </a:r>
          </a:p>
        </p:txBody>
      </p:sp>
    </p:spTree>
    <p:extLst>
      <p:ext uri="{BB962C8B-B14F-4D97-AF65-F5344CB8AC3E}">
        <p14:creationId xmlns:p14="http://schemas.microsoft.com/office/powerpoint/2010/main" val="24201124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6A72C5-C081-4AE6-9E03-C052EDBA85E9}"/>
              </a:ext>
            </a:extLst>
          </p:cNvPr>
          <p:cNvSpPr/>
          <p:nvPr/>
        </p:nvSpPr>
        <p:spPr>
          <a:xfrm>
            <a:off x="1057155" y="2503951"/>
            <a:ext cx="85382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or questions after this session, contact me at Anurag.barua@sap.com</a:t>
            </a:r>
          </a:p>
        </p:txBody>
      </p:sp>
    </p:spTree>
    <p:extLst>
      <p:ext uri="{BB962C8B-B14F-4D97-AF65-F5344CB8AC3E}">
        <p14:creationId xmlns:p14="http://schemas.microsoft.com/office/powerpoint/2010/main" val="3964247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35BDA-13ED-8A4F-A464-7D7BA3513430}"/>
              </a:ext>
            </a:extLst>
          </p:cNvPr>
          <p:cNvSpPr txBox="1">
            <a:spLocks/>
          </p:cNvSpPr>
          <p:nvPr/>
        </p:nvSpPr>
        <p:spPr>
          <a:xfrm>
            <a:off x="119546" y="83026"/>
            <a:ext cx="10756744" cy="90120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FAFAAC-C329-3545-92FF-AD34DB084B28}"/>
              </a:ext>
            </a:extLst>
          </p:cNvPr>
          <p:cNvSpPr txBox="1"/>
          <p:nvPr/>
        </p:nvSpPr>
        <p:spPr>
          <a:xfrm>
            <a:off x="516710" y="1016608"/>
            <a:ext cx="106546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verview &amp; benefits of S/4HANA Cloud, Public Edition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pabilities &amp; key features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ployment mod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0DC707-61C6-4300-B22D-00239ACE4B3E}"/>
              </a:ext>
            </a:extLst>
          </p:cNvPr>
          <p:cNvSpPr/>
          <p:nvPr/>
        </p:nvSpPr>
        <p:spPr>
          <a:xfrm>
            <a:off x="350982" y="951345"/>
            <a:ext cx="9975273" cy="76661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6576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587" y="337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65" name="Object 6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587" y="337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C5AFEC-6DBA-4AEA-8142-F00C08FF8BDD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892"/>
            <a:ext cx="158709" cy="158709"/>
          </a:xfrm>
          <a:prstGeom prst="rect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13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2200" kern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DAD589A2-FB7A-4696-8080-2796C6216E58}"/>
              </a:ext>
            </a:extLst>
          </p:cNvPr>
          <p:cNvSpPr txBox="1">
            <a:spLocks/>
          </p:cNvSpPr>
          <p:nvPr/>
        </p:nvSpPr>
        <p:spPr bwMode="black">
          <a:xfrm>
            <a:off x="211950" y="116811"/>
            <a:ext cx="11183564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>
              <a:lnSpc>
                <a:spcPct val="90000"/>
              </a:lnSpc>
            </a:pPr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/4HANA Cloud, public edition – fast fac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E383BD-430A-40BB-9378-BC67F76053CA}"/>
              </a:ext>
            </a:extLst>
          </p:cNvPr>
          <p:cNvSpPr txBox="1"/>
          <p:nvPr/>
        </p:nvSpPr>
        <p:spPr>
          <a:xfrm>
            <a:off x="322054" y="862642"/>
            <a:ext cx="11628407" cy="489364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100% Software-as-a-Service (SaaS) application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(Annual) subscription-based license model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Enterprise Resource Planning (ERP) in the cloud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Entirely organic &amp; relatively new SAP application that’s been in the market for nearly 7 years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b="1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All innovations will be delivered in the Public Cloud first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Runs on the HANA database and leverages HANA capabilities 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Solution needs to be ‘deployed’ or ‘rolled-out’ and not ‘implemented’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100% mobility-enabled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SAP Fiori is the only UI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r>
              <a:rPr lang="en-US" sz="2400" kern="0" dirty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Also referred to as S/4HANA Public Cloud, Multi-tenant Edition (MTE), &amp; Essentials Edition </a:t>
            </a:r>
          </a:p>
          <a:p>
            <a:pPr marL="380990" indent="-380990">
              <a:buFont typeface="Wingdings" panose="05000000000000000000" pitchFamily="2" charset="2"/>
              <a:buChar char="ü"/>
            </a:pPr>
            <a:endParaRPr lang="en-US" sz="2400" kern="0" dirty="0">
              <a:solidFill>
                <a:schemeClr val="accent1"/>
              </a:solidFill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81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6A7AC05-23ED-4619-9F2D-92FEAC122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781" y="506284"/>
            <a:ext cx="11521167" cy="369140"/>
          </a:xfrm>
        </p:spPr>
        <p:txBody>
          <a:bodyPr/>
          <a:lstStyle/>
          <a:p>
            <a:r>
              <a:rPr lang="en-US"/>
              <a:t>S/4HANA Cloud, public edition:  Key differentiating qualities</a:t>
            </a:r>
            <a:endParaRPr lang="en-DE"/>
          </a:p>
        </p:txBody>
      </p:sp>
      <p:sp>
        <p:nvSpPr>
          <p:cNvPr id="25" name="Rectangle 102">
            <a:hlinkClick r:id="rId3" action="ppaction://hlinksldjump"/>
            <a:extLst>
              <a:ext uri="{FF2B5EF4-FFF2-40B4-BE49-F238E27FC236}">
                <a16:creationId xmlns:a16="http://schemas.microsoft.com/office/drawing/2014/main" id="{80A1349D-E78A-444E-9475-12E2E66F1D80}"/>
              </a:ext>
            </a:extLst>
          </p:cNvPr>
          <p:cNvSpPr/>
          <p:nvPr/>
        </p:nvSpPr>
        <p:spPr bwMode="gray">
          <a:xfrm>
            <a:off x="179419" y="1289335"/>
            <a:ext cx="4356181" cy="1893380"/>
          </a:xfrm>
          <a:prstGeom prst="roundRect">
            <a:avLst>
              <a:gd name="adj" fmla="val 5270"/>
            </a:avLst>
          </a:prstGeom>
          <a:noFill/>
          <a:ln w="12700" algn="ctr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lIns="107888" tIns="71925" rIns="71925" bIns="71925" rtlCol="0" anchor="t"/>
          <a:lstStyle/>
          <a:p>
            <a:pPr defTabSz="912847">
              <a:spcBef>
                <a:spcPts val="600"/>
              </a:spcBef>
              <a:spcAft>
                <a:spcPts val="300"/>
              </a:spcAft>
              <a:buSzPct val="80000"/>
              <a:defRPr/>
            </a:pPr>
            <a:r>
              <a:rPr lang="en-US" sz="1599" b="1">
                <a:solidFill>
                  <a:srgbClr val="000000"/>
                </a:solidFill>
                <a:latin typeface="Arial"/>
              </a:rPr>
              <a:t>Agil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A122610-4376-9947-B453-D458E2831DD7}"/>
              </a:ext>
            </a:extLst>
          </p:cNvPr>
          <p:cNvSpPr/>
          <p:nvPr/>
        </p:nvSpPr>
        <p:spPr>
          <a:xfrm>
            <a:off x="1197059" y="4929564"/>
            <a:ext cx="1834350" cy="1845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endParaRPr lang="en-US" sz="1199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ectangle 102">
            <a:hlinkClick r:id="" action="ppaction://noaction"/>
            <a:extLst>
              <a:ext uri="{FF2B5EF4-FFF2-40B4-BE49-F238E27FC236}">
                <a16:creationId xmlns:a16="http://schemas.microsoft.com/office/drawing/2014/main" id="{47030850-EB79-4702-8550-700634FE256A}"/>
              </a:ext>
            </a:extLst>
          </p:cNvPr>
          <p:cNvSpPr/>
          <p:nvPr/>
        </p:nvSpPr>
        <p:spPr bwMode="gray">
          <a:xfrm>
            <a:off x="169963" y="3770292"/>
            <a:ext cx="4365637" cy="2233239"/>
          </a:xfrm>
          <a:prstGeom prst="roundRect">
            <a:avLst>
              <a:gd name="adj" fmla="val 5270"/>
            </a:avLst>
          </a:prstGeom>
          <a:noFill/>
          <a:ln w="12700" algn="ctr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lIns="107888" tIns="71925" rIns="71925" bIns="71925" rtlCol="0" anchor="t"/>
          <a:lstStyle/>
          <a:p>
            <a:pPr defTabSz="912847">
              <a:spcBef>
                <a:spcPts val="600"/>
              </a:spcBef>
              <a:spcAft>
                <a:spcPts val="300"/>
              </a:spcAft>
              <a:buSzPct val="80000"/>
              <a:defRPr/>
            </a:pPr>
            <a:r>
              <a:rPr lang="en-US" sz="1599" b="1">
                <a:solidFill>
                  <a:srgbClr val="000000"/>
                </a:solidFill>
                <a:latin typeface="Arial"/>
              </a:rPr>
              <a:t>Flexible</a:t>
            </a:r>
          </a:p>
        </p:txBody>
      </p:sp>
      <p:sp>
        <p:nvSpPr>
          <p:cNvPr id="36" name="Rectangle 102">
            <a:hlinkClick r:id="rId4" action="ppaction://hlinksldjump"/>
            <a:extLst>
              <a:ext uri="{FF2B5EF4-FFF2-40B4-BE49-F238E27FC236}">
                <a16:creationId xmlns:a16="http://schemas.microsoft.com/office/drawing/2014/main" id="{A7F4B519-EFEE-4E3C-B5E7-E53A6447E308}"/>
              </a:ext>
            </a:extLst>
          </p:cNvPr>
          <p:cNvSpPr/>
          <p:nvPr/>
        </p:nvSpPr>
        <p:spPr bwMode="gray">
          <a:xfrm>
            <a:off x="7374194" y="1275495"/>
            <a:ext cx="4741323" cy="2233239"/>
          </a:xfrm>
          <a:prstGeom prst="roundRect">
            <a:avLst>
              <a:gd name="adj" fmla="val 5270"/>
            </a:avLst>
          </a:prstGeom>
          <a:noFill/>
          <a:ln w="12700" algn="ctr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lIns="107888" tIns="71925" rIns="71925" bIns="71925" rtlCol="0" anchor="t"/>
          <a:lstStyle/>
          <a:p>
            <a:pPr defTabSz="912847">
              <a:spcBef>
                <a:spcPts val="600"/>
              </a:spcBef>
              <a:spcAft>
                <a:spcPts val="300"/>
              </a:spcAft>
              <a:buSzPct val="80000"/>
              <a:defRPr/>
            </a:pPr>
            <a:r>
              <a:rPr lang="en-US" sz="1599" b="1">
                <a:solidFill>
                  <a:srgbClr val="000000"/>
                </a:solidFill>
                <a:latin typeface="Arial"/>
              </a:rPr>
              <a:t>Innovative</a:t>
            </a:r>
          </a:p>
        </p:txBody>
      </p:sp>
      <p:sp>
        <p:nvSpPr>
          <p:cNvPr id="44" name="Rectangle 102">
            <a:hlinkClick r:id="" action="ppaction://noaction"/>
            <a:extLst>
              <a:ext uri="{FF2B5EF4-FFF2-40B4-BE49-F238E27FC236}">
                <a16:creationId xmlns:a16="http://schemas.microsoft.com/office/drawing/2014/main" id="{BFE1AF2B-BEB4-4C63-BF40-EAF50D816A00}"/>
              </a:ext>
            </a:extLst>
          </p:cNvPr>
          <p:cNvSpPr/>
          <p:nvPr/>
        </p:nvSpPr>
        <p:spPr bwMode="gray">
          <a:xfrm>
            <a:off x="7374194" y="3776281"/>
            <a:ext cx="4788442" cy="2233239"/>
          </a:xfrm>
          <a:prstGeom prst="roundRect">
            <a:avLst>
              <a:gd name="adj" fmla="val 5270"/>
            </a:avLst>
          </a:prstGeom>
          <a:noFill/>
          <a:ln w="12700" algn="ctr">
            <a:solidFill>
              <a:schemeClr val="bg2"/>
            </a:solidFill>
            <a:prstDash val="solid"/>
            <a:miter lim="800000"/>
            <a:headEnd/>
            <a:tailEnd/>
          </a:ln>
        </p:spPr>
        <p:txBody>
          <a:bodyPr lIns="107888" tIns="71925" rIns="71925" bIns="71925" rtlCol="0" anchor="t"/>
          <a:lstStyle/>
          <a:p>
            <a:pPr defTabSz="912847">
              <a:spcBef>
                <a:spcPts val="600"/>
              </a:spcBef>
              <a:spcAft>
                <a:spcPts val="300"/>
              </a:spcAft>
              <a:buSzPct val="80000"/>
              <a:defRPr/>
            </a:pPr>
            <a:r>
              <a:rPr lang="en-US" sz="1599" b="1">
                <a:solidFill>
                  <a:srgbClr val="000000"/>
                </a:solidFill>
                <a:latin typeface="Arial"/>
              </a:rPr>
              <a:t>Resilient</a:t>
            </a:r>
          </a:p>
        </p:txBody>
      </p:sp>
      <p:sp>
        <p:nvSpPr>
          <p:cNvPr id="55" name="Rechteck 44">
            <a:extLst>
              <a:ext uri="{FF2B5EF4-FFF2-40B4-BE49-F238E27FC236}">
                <a16:creationId xmlns:a16="http://schemas.microsoft.com/office/drawing/2014/main" id="{04F08E14-3703-495E-8536-A739E69567A1}"/>
              </a:ext>
            </a:extLst>
          </p:cNvPr>
          <p:cNvSpPr/>
          <p:nvPr/>
        </p:nvSpPr>
        <p:spPr>
          <a:xfrm>
            <a:off x="254321" y="1737309"/>
            <a:ext cx="4452301" cy="16765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 dirty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Fast</a:t>
            </a:r>
            <a:r>
              <a:rPr lang="en-US" sz="1399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399" dirty="0">
                <a:solidFill>
                  <a:srgbClr val="000000"/>
                </a:solidFill>
                <a:latin typeface="Arial"/>
              </a:rPr>
              <a:t>implementation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 dirty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Industry best practices </a:t>
            </a:r>
            <a:r>
              <a:rPr lang="en-US" sz="1399" dirty="0">
                <a:solidFill>
                  <a:srgbClr val="000000"/>
                </a:solidFill>
                <a:latin typeface="Arial"/>
              </a:rPr>
              <a:t>built in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 dirty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Self service </a:t>
            </a:r>
            <a:r>
              <a:rPr lang="en-US" sz="1399" dirty="0">
                <a:solidFill>
                  <a:srgbClr val="000000"/>
                </a:solidFill>
                <a:latin typeface="Arial"/>
              </a:rPr>
              <a:t>business configuration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dirty="0">
                <a:solidFill>
                  <a:srgbClr val="000000"/>
                </a:solidFill>
                <a:latin typeface="Arial"/>
              </a:rPr>
              <a:t>Localized in </a:t>
            </a:r>
            <a:r>
              <a:rPr lang="en-US" sz="1399" b="1" kern="0" dirty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51 countries </a:t>
            </a:r>
            <a:r>
              <a:rPr lang="en-US" sz="1399" dirty="0">
                <a:solidFill>
                  <a:srgbClr val="000000"/>
                </a:solidFill>
                <a:latin typeface="Arial"/>
              </a:rPr>
              <a:t>and extensible to others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dirty="0">
                <a:solidFill>
                  <a:srgbClr val="000000"/>
                </a:solidFill>
                <a:latin typeface="Arial"/>
              </a:rPr>
              <a:t>Automated </a:t>
            </a:r>
            <a:r>
              <a:rPr lang="en-US" sz="1399" b="1" kern="0" dirty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testing tools </a:t>
            </a:r>
            <a:r>
              <a:rPr lang="en-US" sz="1399" dirty="0">
                <a:solidFill>
                  <a:srgbClr val="000000"/>
                </a:solidFill>
                <a:latin typeface="Arial"/>
              </a:rPr>
              <a:t>included</a:t>
            </a:r>
          </a:p>
          <a:p>
            <a:pPr defTabSz="912847">
              <a:spcBef>
                <a:spcPts val="600"/>
              </a:spcBef>
              <a:buClr>
                <a:srgbClr val="F0AB00"/>
              </a:buClr>
              <a:buSzPct val="100000"/>
              <a:defRPr/>
            </a:pPr>
            <a:endParaRPr lang="en-US" sz="139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Rechteck 44">
            <a:extLst>
              <a:ext uri="{FF2B5EF4-FFF2-40B4-BE49-F238E27FC236}">
                <a16:creationId xmlns:a16="http://schemas.microsoft.com/office/drawing/2014/main" id="{65009B88-B1D9-423D-BD6E-AE268C812494}"/>
              </a:ext>
            </a:extLst>
          </p:cNvPr>
          <p:cNvSpPr/>
          <p:nvPr/>
        </p:nvSpPr>
        <p:spPr>
          <a:xfrm>
            <a:off x="310966" y="4211203"/>
            <a:ext cx="4452301" cy="226098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/>
                <a:cs typeface="Arial"/>
              </a:rPr>
              <a:t>Modular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 extensibility</a:t>
            </a:r>
            <a:endParaRPr lang="en-US" sz="1399">
              <a:solidFill>
                <a:srgbClr val="000000"/>
              </a:solidFill>
              <a:latin typeface="Arial"/>
              <a:cs typeface="Arial"/>
            </a:endParaRP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>
                <a:solidFill>
                  <a:srgbClr val="000000"/>
                </a:solidFill>
                <a:latin typeface="Arial"/>
              </a:rPr>
              <a:t>Easy </a:t>
            </a: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in-app extensibility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Side-by-side extensibility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Out of the box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integrations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Open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 architecture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endParaRPr lang="en-US" sz="1399">
              <a:solidFill>
                <a:srgbClr val="000000"/>
              </a:solidFill>
              <a:latin typeface="Arial"/>
            </a:endParaRP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endParaRPr lang="en-US" sz="1399" b="1" kern="0">
              <a:solidFill>
                <a:srgbClr val="008FD3">
                  <a:lumMod val="75000"/>
                </a:srgbClr>
              </a:solidFill>
              <a:latin typeface="Arial"/>
              <a:ea typeface="Arial Unicode MS" pitchFamily="34" charset="-128"/>
              <a:cs typeface="Arial" panose="020B0604020202020204" pitchFamily="34" charset="0"/>
            </a:endParaRP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endParaRPr lang="en-US" sz="1399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8" name="Rechteck 44">
            <a:extLst>
              <a:ext uri="{FF2B5EF4-FFF2-40B4-BE49-F238E27FC236}">
                <a16:creationId xmlns:a16="http://schemas.microsoft.com/office/drawing/2014/main" id="{9CCFBB3B-C126-4154-B33C-6D6BC4BE84C4}"/>
              </a:ext>
            </a:extLst>
          </p:cNvPr>
          <p:cNvSpPr/>
          <p:nvPr/>
        </p:nvSpPr>
        <p:spPr>
          <a:xfrm>
            <a:off x="7545216" y="1769035"/>
            <a:ext cx="4630138" cy="130736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/>
                <a:cs typeface="Arial"/>
              </a:rPr>
              <a:t>Cloud first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innovation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/>
                <a:cs typeface="Arial"/>
              </a:rPr>
              <a:t>Intuitive </a:t>
            </a:r>
            <a:r>
              <a:rPr lang="en-US" sz="1399">
                <a:solidFill>
                  <a:srgbClr val="000000"/>
                </a:solidFill>
                <a:latin typeface="Arial"/>
                <a:cs typeface="Arial"/>
              </a:rPr>
              <a:t>&amp; simple UX,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on any device</a:t>
            </a: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Intelligence built in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(Process Automation, ML) </a:t>
            </a: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Embedded Analytics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(SAC and Datawarehouse Cloud)</a:t>
            </a:r>
            <a:endParaRPr lang="en-US" sz="1399">
              <a:solidFill>
                <a:srgbClr val="000000"/>
              </a:solidFill>
              <a:latin typeface="Arial"/>
              <a:cs typeface="Arial"/>
            </a:endParaRPr>
          </a:p>
          <a:p>
            <a:pPr marL="134553" indent="-134553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Automatic and continuous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upgrades</a:t>
            </a:r>
          </a:p>
        </p:txBody>
      </p:sp>
      <p:sp>
        <p:nvSpPr>
          <p:cNvPr id="61" name="Rechteck 44">
            <a:extLst>
              <a:ext uri="{FF2B5EF4-FFF2-40B4-BE49-F238E27FC236}">
                <a16:creationId xmlns:a16="http://schemas.microsoft.com/office/drawing/2014/main" id="{97C9E28E-964C-479D-842C-E7682000E18C}"/>
              </a:ext>
            </a:extLst>
          </p:cNvPr>
          <p:cNvSpPr/>
          <p:nvPr/>
        </p:nvSpPr>
        <p:spPr>
          <a:xfrm>
            <a:off x="7485379" y="4180951"/>
            <a:ext cx="4630138" cy="1384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Best in class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uptimes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Mission critical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response times, </a:t>
            </a: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dynamic scalability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 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Cloud security </a:t>
            </a:r>
            <a:r>
              <a:rPr lang="en-US" sz="1399">
                <a:solidFill>
                  <a:srgbClr val="000000"/>
                </a:solidFill>
                <a:latin typeface="Arial"/>
              </a:rPr>
              <a:t>and compliance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>
                <a:solidFill>
                  <a:srgbClr val="000000"/>
                </a:solidFill>
                <a:latin typeface="Arial"/>
              </a:rPr>
              <a:t>Backup and </a:t>
            </a: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disaster coverage</a:t>
            </a:r>
          </a:p>
          <a:p>
            <a:pPr marL="134791" indent="-134791" defTabSz="912847">
              <a:spcBef>
                <a:spcPts val="600"/>
              </a:spcBef>
              <a:buClr>
                <a:srgbClr val="F0AB00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399" b="1" kern="0">
                <a:solidFill>
                  <a:srgbClr val="008FD3">
                    <a:lumMod val="75000"/>
                  </a:srgbClr>
                </a:solidFill>
                <a:latin typeface="Arial"/>
                <a:ea typeface="Arial Unicode MS" pitchFamily="34" charset="-128"/>
                <a:cs typeface="Arial" panose="020B0604020202020204" pitchFamily="34" charset="0"/>
              </a:rPr>
              <a:t>Data protec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19BC74F-8B7D-40D2-83FE-76C2D2863F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3757" y="1321666"/>
            <a:ext cx="681680" cy="68168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FDF50B8-D64D-FC4A-80FB-1AC08FF5B0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1730" y="3720434"/>
            <a:ext cx="712502" cy="71250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BACC263-E240-EF4A-A4F0-021CC1877D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8403" y="1369751"/>
            <a:ext cx="559153" cy="559153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96181E7-CCB8-8246-8A22-1AE9605B61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1092" y="3770294"/>
            <a:ext cx="590949" cy="590949"/>
          </a:xfrm>
          <a:prstGeom prst="rect">
            <a:avLst/>
          </a:prstGeom>
        </p:spPr>
      </p:pic>
      <p:sp>
        <p:nvSpPr>
          <p:cNvPr id="40" name="Cloud 39">
            <a:extLst>
              <a:ext uri="{FF2B5EF4-FFF2-40B4-BE49-F238E27FC236}">
                <a16:creationId xmlns:a16="http://schemas.microsoft.com/office/drawing/2014/main" id="{3359A146-CD28-5340-B281-A49476EB7847}"/>
              </a:ext>
            </a:extLst>
          </p:cNvPr>
          <p:cNvSpPr/>
          <p:nvPr/>
        </p:nvSpPr>
        <p:spPr bwMode="gray">
          <a:xfrm>
            <a:off x="4400134" y="2415650"/>
            <a:ext cx="2999734" cy="2050494"/>
          </a:xfrm>
          <a:prstGeom prst="cloud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9953" tIns="71963" rIns="89953" bIns="71963"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799" b="1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SAP S/4HANA Cloud, public edi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56E3C1-926C-EA97-19E5-61F995C672A7}"/>
              </a:ext>
            </a:extLst>
          </p:cNvPr>
          <p:cNvSpPr txBox="1">
            <a:spLocks/>
          </p:cNvSpPr>
          <p:nvPr/>
        </p:nvSpPr>
        <p:spPr bwMode="black">
          <a:xfrm>
            <a:off x="211950" y="116811"/>
            <a:ext cx="11183564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>
              <a:lnSpc>
                <a:spcPct val="90000"/>
              </a:lnSpc>
            </a:pPr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/4HANA Cloud, public edition – benefits</a:t>
            </a:r>
          </a:p>
        </p:txBody>
      </p:sp>
    </p:spTree>
    <p:extLst>
      <p:ext uri="{BB962C8B-B14F-4D97-AF65-F5344CB8AC3E}">
        <p14:creationId xmlns:p14="http://schemas.microsoft.com/office/powerpoint/2010/main" val="67648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0973"/>
    </mc:Choice>
    <mc:Fallback xmlns="">
      <p:transition spd="slow" advTm="90973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Arrow: Right 28">
            <a:extLst>
              <a:ext uri="{FF2B5EF4-FFF2-40B4-BE49-F238E27FC236}">
                <a16:creationId xmlns:a16="http://schemas.microsoft.com/office/drawing/2014/main" id="{7653F3E4-8608-465D-99BF-123895687AA2}"/>
              </a:ext>
            </a:extLst>
          </p:cNvPr>
          <p:cNvSpPr/>
          <p:nvPr/>
        </p:nvSpPr>
        <p:spPr bwMode="gray">
          <a:xfrm>
            <a:off x="6886833" y="1497766"/>
            <a:ext cx="265723" cy="221093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3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E3B254C-C523-4726-BA15-A87474572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5" y="21430"/>
            <a:ext cx="11183564" cy="369332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der in Finance and Service-Centric Domai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B656E-1F2B-4BA9-AE7A-FAC50DDD7AF8}"/>
              </a:ext>
            </a:extLst>
          </p:cNvPr>
          <p:cNvSpPr/>
          <p:nvPr/>
        </p:nvSpPr>
        <p:spPr>
          <a:xfrm>
            <a:off x="613190" y="2585800"/>
            <a:ext cx="2615511" cy="768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99" dirty="0"/>
              <a:t>SAP S/4HANA Cloud is a Leader in the 2021 Gartner Magic Quadrant™ for Cloud Core Financial Management Suites for Midsize, Large and Global Enterprises</a:t>
            </a:r>
            <a:endParaRPr lang="en-DE" sz="1099" dirty="0"/>
          </a:p>
        </p:txBody>
      </p:sp>
      <p:pic>
        <p:nvPicPr>
          <p:cNvPr id="11" name="Grafik 87">
            <a:extLst>
              <a:ext uri="{FF2B5EF4-FFF2-40B4-BE49-F238E27FC236}">
                <a16:creationId xmlns:a16="http://schemas.microsoft.com/office/drawing/2014/main" id="{22356B9D-6773-4474-89CA-02402FBB98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459" y="2406587"/>
            <a:ext cx="716243" cy="162347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A92109-B261-4CA3-8887-C5997EDEFD94}"/>
              </a:ext>
            </a:extLst>
          </p:cNvPr>
          <p:cNvCxnSpPr>
            <a:cxnSpLocks/>
          </p:cNvCxnSpPr>
          <p:nvPr/>
        </p:nvCxnSpPr>
        <p:spPr>
          <a:xfrm>
            <a:off x="503871" y="1250321"/>
            <a:ext cx="0" cy="4682779"/>
          </a:xfrm>
          <a:prstGeom prst="line">
            <a:avLst/>
          </a:prstGeom>
          <a:ln w="254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52447-3D27-4CDF-A5B2-590ECE641766}"/>
              </a:ext>
            </a:extLst>
          </p:cNvPr>
          <p:cNvSpPr/>
          <p:nvPr/>
        </p:nvSpPr>
        <p:spPr>
          <a:xfrm>
            <a:off x="613190" y="1443031"/>
            <a:ext cx="2662613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99" dirty="0"/>
              <a:t>SAP S/4HANA Cloud </a:t>
            </a:r>
            <a:r>
              <a:rPr lang="en-US" sz="1099" dirty="0">
                <a:hlinkClick r:id="rId4"/>
              </a:rPr>
              <a:t>is a Strong Leader </a:t>
            </a:r>
            <a:r>
              <a:rPr lang="en-US" sz="1099" dirty="0"/>
              <a:t>in the 2022 Gartner Magic Quadrant™ for Service-Centric Cloud ERP</a:t>
            </a:r>
            <a:endParaRPr lang="en-DE" sz="1099" dirty="0"/>
          </a:p>
        </p:txBody>
      </p:sp>
      <p:pic>
        <p:nvPicPr>
          <p:cNvPr id="15" name="Grafik 87">
            <a:extLst>
              <a:ext uri="{FF2B5EF4-FFF2-40B4-BE49-F238E27FC236}">
                <a16:creationId xmlns:a16="http://schemas.microsoft.com/office/drawing/2014/main" id="{92388C91-D50B-4CEE-A4CD-184506F03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459" y="1292393"/>
            <a:ext cx="716243" cy="16234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ED4FB8B-239C-4CD0-AB59-D608AF8E06F9}"/>
              </a:ext>
            </a:extLst>
          </p:cNvPr>
          <p:cNvSpPr txBox="1"/>
          <p:nvPr/>
        </p:nvSpPr>
        <p:spPr>
          <a:xfrm>
            <a:off x="3472390" y="1311745"/>
            <a:ext cx="4294409" cy="769441"/>
          </a:xfrm>
          <a:prstGeom prst="rect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100" dirty="0"/>
              <a:t>Gartner notes that SAP S/4HANA Cloud is a “100% managed SaaS cloud solution with a comprehensive breadth of features. Strengths included strong financial management product vision and breadth, including core management, treasury, analytics, and planning.”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612B9D-9BB3-4B83-8545-EAC28822EA63}"/>
              </a:ext>
            </a:extLst>
          </p:cNvPr>
          <p:cNvSpPr/>
          <p:nvPr/>
        </p:nvSpPr>
        <p:spPr>
          <a:xfrm>
            <a:off x="613189" y="3912538"/>
            <a:ext cx="2615648" cy="599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99" dirty="0"/>
              <a:t>Strong Leader in the 2020 IDC </a:t>
            </a:r>
            <a:r>
              <a:rPr lang="en-US" sz="1099" dirty="0" err="1"/>
              <a:t>MarketScape</a:t>
            </a:r>
            <a:r>
              <a:rPr lang="en-US" sz="1099" dirty="0"/>
              <a:t>™ for Cloud-Enabled PSA ERP Applications Vendor Assessment</a:t>
            </a:r>
            <a:endParaRPr lang="en-DE" sz="1099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22F1073-4A82-4210-974C-88FCB95A0446}"/>
              </a:ext>
            </a:extLst>
          </p:cNvPr>
          <p:cNvSpPr/>
          <p:nvPr/>
        </p:nvSpPr>
        <p:spPr>
          <a:xfrm>
            <a:off x="613189" y="5029208"/>
            <a:ext cx="261564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99" dirty="0"/>
              <a:t>Strong Leader in the 2020 IDC </a:t>
            </a:r>
            <a:r>
              <a:rPr lang="en-US" sz="1100" dirty="0"/>
              <a:t>Worldwide SaaS and Cloud-Enabled Enterprise Finance and Accounting Applications Vendor Assessment</a:t>
            </a:r>
            <a:endParaRPr lang="en-DE" sz="1099" dirty="0"/>
          </a:p>
        </p:txBody>
      </p:sp>
      <p:pic>
        <p:nvPicPr>
          <p:cNvPr id="5122" name="Picture 2" descr="IDC: The premier global market intelligence firm.">
            <a:extLst>
              <a:ext uri="{FF2B5EF4-FFF2-40B4-BE49-F238E27FC236}">
                <a16:creationId xmlns:a16="http://schemas.microsoft.com/office/drawing/2014/main" id="{85355FF0-32A7-4F75-9DA9-119F99C822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59" y="3730281"/>
            <a:ext cx="619252" cy="18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IDC: The premier global market intelligence firm.">
            <a:extLst>
              <a:ext uri="{FF2B5EF4-FFF2-40B4-BE49-F238E27FC236}">
                <a16:creationId xmlns:a16="http://schemas.microsoft.com/office/drawing/2014/main" id="{A05023A8-5E17-4315-92B0-140DD718E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59" y="4860607"/>
            <a:ext cx="619252" cy="18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Arrow: Right 30">
            <a:extLst>
              <a:ext uri="{FF2B5EF4-FFF2-40B4-BE49-F238E27FC236}">
                <a16:creationId xmlns:a16="http://schemas.microsoft.com/office/drawing/2014/main" id="{A282E834-BD51-4A9E-AA1F-E8D475A5260D}"/>
              </a:ext>
            </a:extLst>
          </p:cNvPr>
          <p:cNvSpPr/>
          <p:nvPr/>
        </p:nvSpPr>
        <p:spPr bwMode="gray">
          <a:xfrm>
            <a:off x="3072073" y="4073202"/>
            <a:ext cx="265723" cy="221093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3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6075B40-0BE9-4B81-9694-4632BBFB07A4}"/>
              </a:ext>
            </a:extLst>
          </p:cNvPr>
          <p:cNvSpPr/>
          <p:nvPr/>
        </p:nvSpPr>
        <p:spPr bwMode="gray">
          <a:xfrm>
            <a:off x="3137771" y="1582860"/>
            <a:ext cx="265723" cy="221093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37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EA77F2-6DB3-073E-27A5-4EE3DB752E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4934" y="2568934"/>
            <a:ext cx="4213333" cy="36297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21A77B0-0494-6ABB-D578-D0DD42CDE2A5}"/>
              </a:ext>
            </a:extLst>
          </p:cNvPr>
          <p:cNvSpPr txBox="1"/>
          <p:nvPr/>
        </p:nvSpPr>
        <p:spPr>
          <a:xfrm>
            <a:off x="3603267" y="2166121"/>
            <a:ext cx="33185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i="1" kern="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DC </a:t>
            </a:r>
            <a:r>
              <a:rPr lang="en-US" sz="1200" b="1" i="1" kern="0" dirty="0" err="1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arketscape</a:t>
            </a:r>
            <a:r>
              <a:rPr lang="en-US" sz="1200" b="1" i="1" kern="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SaaS &amp; Cloud-enabled operational ERP (2022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736296-DC2C-1B3B-60E5-E911DF1BDB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00512" y="2120492"/>
            <a:ext cx="3730727" cy="366939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1CA3E0-C941-B9F8-9830-3421A806ADA5}"/>
              </a:ext>
            </a:extLst>
          </p:cNvPr>
          <p:cNvSpPr txBox="1"/>
          <p:nvPr/>
        </p:nvSpPr>
        <p:spPr>
          <a:xfrm>
            <a:off x="8169091" y="1672938"/>
            <a:ext cx="35935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i="1" kern="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Gartner Magic Quadrant for Cloud ERP for Service-centric</a:t>
            </a:r>
          </a:p>
        </p:txBody>
      </p:sp>
    </p:spTree>
    <p:extLst>
      <p:ext uri="{BB962C8B-B14F-4D97-AF65-F5344CB8AC3E}">
        <p14:creationId xmlns:p14="http://schemas.microsoft.com/office/powerpoint/2010/main" val="3286268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35BDA-13ED-8A4F-A464-7D7BA3513430}"/>
              </a:ext>
            </a:extLst>
          </p:cNvPr>
          <p:cNvSpPr txBox="1">
            <a:spLocks/>
          </p:cNvSpPr>
          <p:nvPr/>
        </p:nvSpPr>
        <p:spPr>
          <a:xfrm>
            <a:off x="73364" y="34839"/>
            <a:ext cx="10756744" cy="90120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FAFAAC-C329-3545-92FF-AD34DB084B28}"/>
              </a:ext>
            </a:extLst>
          </p:cNvPr>
          <p:cNvSpPr txBox="1"/>
          <p:nvPr/>
        </p:nvSpPr>
        <p:spPr>
          <a:xfrm>
            <a:off x="516710" y="1016608"/>
            <a:ext cx="1065467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verview &amp; benefits of S/4HANA Cloud, Public Edition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pabilities &amp; key features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ployment mod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0DC707-61C6-4300-B22D-00239ACE4B3E}"/>
              </a:ext>
            </a:extLst>
          </p:cNvPr>
          <p:cNvSpPr/>
          <p:nvPr/>
        </p:nvSpPr>
        <p:spPr>
          <a:xfrm>
            <a:off x="350982" y="1756682"/>
            <a:ext cx="9975273" cy="766619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527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E7301B45-6F92-4501-B71D-1A56F59CF775}"/>
              </a:ext>
            </a:extLst>
          </p:cNvPr>
          <p:cNvSpPr/>
          <p:nvPr/>
        </p:nvSpPr>
        <p:spPr bwMode="auto">
          <a:xfrm>
            <a:off x="2849354" y="1085654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Procur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Direct material procur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Service procur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Supplier manag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entral procurement</a:t>
            </a:r>
            <a:endParaRPr lang="en-US" sz="10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latin typeface="Arial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DEE32FF-A27A-4DF9-AB77-10B35B4ACBED}"/>
              </a:ext>
            </a:extLst>
          </p:cNvPr>
          <p:cNvSpPr/>
          <p:nvPr/>
        </p:nvSpPr>
        <p:spPr bwMode="auto">
          <a:xfrm>
            <a:off x="5064384" y="1085654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Sales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Sell Products, Projects and Contract-based Services separately or as a full solution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onvergent &amp; External Billing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CB58594-D08E-446D-997D-50D2A6781920}"/>
              </a:ext>
            </a:extLst>
          </p:cNvPr>
          <p:cNvSpPr/>
          <p:nvPr/>
        </p:nvSpPr>
        <p:spPr bwMode="auto">
          <a:xfrm>
            <a:off x="7270631" y="1085654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Service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After-sales service and support with contracts, service deliveries, and billing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ombine sales &amp; services as packaged solution offering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B92B824-094C-443A-95ED-BC6359739C87}"/>
              </a:ext>
            </a:extLst>
          </p:cNvPr>
          <p:cNvSpPr/>
          <p:nvPr/>
        </p:nvSpPr>
        <p:spPr bwMode="auto">
          <a:xfrm>
            <a:off x="9487783" y="1085654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Service-Centric Industries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Professional services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Public sector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Higher education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Media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Financial servic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E17BFCD-3471-4431-9F29-64A5C1E60C11}"/>
              </a:ext>
            </a:extLst>
          </p:cNvPr>
          <p:cNvSpPr/>
          <p:nvPr/>
        </p:nvSpPr>
        <p:spPr bwMode="auto">
          <a:xfrm>
            <a:off x="632203" y="3476441"/>
            <a:ext cx="2156187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Manufacturing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Material requirements planning</a:t>
            </a:r>
            <a:b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</a:b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with demand driven and/or </a:t>
            </a:r>
            <a:b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</a:b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predictive MRP 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Make to stock and make to order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Quality manag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Environment, Health and Safety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0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latin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97D7F81-0C41-4743-AB33-0DBAF3B09CE9}"/>
              </a:ext>
            </a:extLst>
          </p:cNvPr>
          <p:cNvSpPr/>
          <p:nvPr/>
        </p:nvSpPr>
        <p:spPr bwMode="auto">
          <a:xfrm>
            <a:off x="2849353" y="3476441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R&amp;D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Product compliance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Enterprise portfolio and</a:t>
            </a:r>
            <a:b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</a:b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project manag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Advanced Variant configurati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76079AF-CB10-4AD6-AF44-14DBB93C6CB7}"/>
              </a:ext>
            </a:extLst>
          </p:cNvPr>
          <p:cNvSpPr/>
          <p:nvPr/>
        </p:nvSpPr>
        <p:spPr bwMode="auto">
          <a:xfrm>
            <a:off x="5056674" y="3476441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/>
              </a:rPr>
              <a:t>Asset management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cs typeface="Arial"/>
              </a:rPr>
              <a:t>Reactive and proactive maintenance </a:t>
            </a:r>
            <a:endParaRPr lang="en-US" sz="10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latin typeface="Arial"/>
            </a:endParaRP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Resource scheduling </a:t>
            </a:r>
            <a:br>
              <a:rPr lang="en-US" sz="1000">
                <a:solidFill>
                  <a:srgbClr val="FFFFFF"/>
                </a:solidFill>
                <a:latin typeface="Arial"/>
              </a:rPr>
            </a:b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for maintenance planner</a:t>
            </a:r>
            <a:endParaRPr lang="en-US" sz="2099">
              <a:solidFill>
                <a:srgbClr val="FFFFFF"/>
              </a:solidFill>
              <a:latin typeface="Arial"/>
            </a:endParaRP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Enhanced collaboration + review</a:t>
            </a:r>
            <a:endParaRPr lang="en-US" sz="1000">
              <a:gradFill>
                <a:gsLst>
                  <a:gs pos="0">
                    <a:srgbClr val="000000"/>
                  </a:gs>
                  <a:gs pos="100000">
                    <a:srgbClr val="000000"/>
                  </a:gs>
                </a:gsLst>
                <a:lin ang="0" scaled="1"/>
              </a:gradFill>
              <a:latin typeface="Arial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87D8187-54F7-4349-8CC9-05DB910F6FA1}"/>
              </a:ext>
            </a:extLst>
          </p:cNvPr>
          <p:cNvSpPr/>
          <p:nvPr/>
        </p:nvSpPr>
        <p:spPr bwMode="auto">
          <a:xfrm>
            <a:off x="7273826" y="3476441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Supply chain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Warehouse Outbound &amp; Inbound Processing 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ore Inventory Management 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(Advanced) ATP Processing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Basic Transportation Mgmt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6346D6D-C0EB-4254-8327-397F3EA014E7}"/>
              </a:ext>
            </a:extLst>
          </p:cNvPr>
          <p:cNvSpPr/>
          <p:nvPr/>
        </p:nvSpPr>
        <p:spPr bwMode="auto">
          <a:xfrm>
            <a:off x="9510636" y="3476441"/>
            <a:ext cx="2155839" cy="217023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000000"/>
                </a:solidFill>
                <a:latin typeface="Arial"/>
                <a:ea typeface="Segoe UI" pitchFamily="34" charset="0"/>
                <a:cs typeface="Arial"/>
              </a:rPr>
              <a:t>Product-Centric Industries</a:t>
            </a:r>
            <a:endParaRPr lang="en-US" sz="1100">
              <a:solidFill>
                <a:srgbClr val="000000"/>
              </a:solidFill>
              <a:latin typeface="Arial"/>
              <a:ea typeface="+mn-lt"/>
              <a:cs typeface="Arial"/>
            </a:endParaRP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Font typeface="Arial,Sans-Serif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omponent manufacturing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Font typeface="Arial,Sans-Serif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Hi-tech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Font typeface="Arial,Sans-Serif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Automotive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Font typeface="Arial,Sans-Serif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Mining services</a:t>
            </a:r>
          </a:p>
          <a:p>
            <a:pPr marL="114266" indent="-114266" defTabSz="1088131">
              <a:spcAft>
                <a:spcPts val="200"/>
              </a:spcAft>
              <a:buFont typeface="Arial,Sans-Serif"/>
              <a:buChar char="•"/>
              <a:defRPr/>
            </a:pPr>
            <a:endParaRPr lang="en-US" sz="1100">
              <a:solidFill>
                <a:srgbClr val="000000"/>
              </a:solidFill>
              <a:latin typeface="Arial"/>
              <a:ea typeface="+mn-lt"/>
              <a:cs typeface="Arial"/>
            </a:endParaRPr>
          </a:p>
        </p:txBody>
      </p:sp>
      <p:sp>
        <p:nvSpPr>
          <p:cNvPr id="52" name="Rectangle 51">
            <a:hlinkClick r:id="rId3"/>
            <a:extLst>
              <a:ext uri="{FF2B5EF4-FFF2-40B4-BE49-F238E27FC236}">
                <a16:creationId xmlns:a16="http://schemas.microsoft.com/office/drawing/2014/main" id="{0D4591AB-6FD5-43F5-B06A-F23288AC61E5}"/>
              </a:ext>
            </a:extLst>
          </p:cNvPr>
          <p:cNvSpPr/>
          <p:nvPr/>
        </p:nvSpPr>
        <p:spPr>
          <a:xfrm>
            <a:off x="805499" y="1897129"/>
            <a:ext cx="921007" cy="123015"/>
          </a:xfrm>
          <a:prstGeom prst="rect">
            <a:avLst/>
          </a:prstGeom>
          <a:solidFill>
            <a:schemeClr val="bg1">
              <a:alpha val="80000"/>
            </a:schemeClr>
          </a:solidFill>
          <a:effectLst/>
        </p:spPr>
        <p:txBody>
          <a:bodyPr wrap="none" lIns="0" tIns="0" rIns="0" bIns="0">
            <a:spAutoFit/>
          </a:bodyPr>
          <a:lstStyle/>
          <a:p>
            <a:pPr defTabSz="1088122">
              <a:defRPr/>
            </a:pPr>
            <a:r>
              <a:rPr lang="en-US" sz="800">
                <a:solidFill>
                  <a:srgbClr val="333333"/>
                </a:solidFill>
                <a:latin typeface="Arial"/>
              </a:rPr>
              <a:t>Predictive Contracts</a:t>
            </a:r>
            <a:endParaRPr lang="en-US" sz="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7BCB9F09-AB70-40AC-A5F0-475AC8B08BE7}"/>
              </a:ext>
            </a:extLst>
          </p:cNvPr>
          <p:cNvSpPr/>
          <p:nvPr/>
        </p:nvSpPr>
        <p:spPr bwMode="auto">
          <a:xfrm>
            <a:off x="632203" y="1075464"/>
            <a:ext cx="2156187" cy="216986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16" tIns="1005578" rIns="91416" bIns="914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19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  <a:ea typeface="Segoe UI" pitchFamily="34" charset="0"/>
                <a:cs typeface="Segoe UI" pitchFamily="34" charset="0"/>
              </a:rPr>
              <a:t>Finance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Accounting and financial close 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Receivables and Payables mgmt.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Cost mgmt. &amp; profitability analysis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Treasury &amp; working capital mgmt.</a:t>
            </a:r>
          </a:p>
          <a:p>
            <a:pPr marL="114266" indent="-114266" defTabSz="1088131">
              <a:spcAft>
                <a:spcPts val="200"/>
              </a:spcAft>
              <a:buClr>
                <a:srgbClr val="CCCCCC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0" scaled="1"/>
                </a:gradFill>
                <a:latin typeface="Arial"/>
              </a:rPr>
              <a:t>Governance Risk and Complianc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6DAE523-B685-45C3-9935-40FB84FF4548}"/>
              </a:ext>
            </a:extLst>
          </p:cNvPr>
          <p:cNvSpPr/>
          <p:nvPr/>
        </p:nvSpPr>
        <p:spPr bwMode="auto">
          <a:xfrm>
            <a:off x="609347" y="3257968"/>
            <a:ext cx="11033427" cy="22971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38100" dir="2700000" algn="tl" rotWithShape="0">
              <a:prstClr val="black">
                <a:alpha val="40000"/>
              </a:prstClr>
            </a:outerShdw>
          </a:effectLst>
        </p:spPr>
        <p:txBody>
          <a:bodyPr lIns="89977" tIns="71981" rIns="89977" bIns="71981" rtlCol="0" anchor="ctr"/>
          <a:lstStyle/>
          <a:p>
            <a:pPr algn="ctr" defTabSz="914126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r>
              <a:rPr lang="en-US" sz="1200" b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1"/>
                </a:gradFill>
                <a:latin typeface="Arial"/>
              </a:rPr>
              <a:t>SAP S/4HANA Cloud, public edition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78E95EA-CCCE-4A46-830D-91ABC9615C64}"/>
              </a:ext>
            </a:extLst>
          </p:cNvPr>
          <p:cNvSpPr txBox="1">
            <a:spLocks/>
          </p:cNvSpPr>
          <p:nvPr/>
        </p:nvSpPr>
        <p:spPr bwMode="black">
          <a:xfrm>
            <a:off x="135048" y="62658"/>
            <a:ext cx="11180652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912"/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ckaged capabilities based on Best Practi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32E938-FF89-410F-AFCF-6EC9E4D600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536" y="3561895"/>
            <a:ext cx="838205" cy="8382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0CE246E-CE9E-4D10-AFD7-CC9DEF16AA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1164" y="3552012"/>
            <a:ext cx="921840" cy="92184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2B14E1C-8605-4B1E-A2B8-50D81934F2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93797" y="3602274"/>
            <a:ext cx="906390" cy="90639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33092F8-3E88-4571-B76E-A4271B9247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195" y="3442100"/>
            <a:ext cx="1096086" cy="109608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1AC10FA-441D-4496-B90D-F344C02E5A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27190" y="3583086"/>
            <a:ext cx="814114" cy="81411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80BBF094-278E-4D5C-898A-76AAAFC89C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27190" y="1233136"/>
            <a:ext cx="814114" cy="81411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1338635-9817-47CA-9A7C-CCE20853AD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0117" y="1243073"/>
            <a:ext cx="794242" cy="79424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C57D52CA-0737-48E6-A237-AC2464B299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25374" y="1293483"/>
            <a:ext cx="693422" cy="69342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07CE38D2-28A4-4016-A950-066A69066C3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6421" y="1169976"/>
            <a:ext cx="940436" cy="94043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4B71DF0B-104A-48F7-897C-1095E95804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3215" y="1156416"/>
            <a:ext cx="967554" cy="967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0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itle 1">
            <a:extLst>
              <a:ext uri="{FF2B5EF4-FFF2-40B4-BE49-F238E27FC236}">
                <a16:creationId xmlns:a16="http://schemas.microsoft.com/office/drawing/2014/main" id="{92BD9452-917D-45B2-AA71-2D23D9C149E0}"/>
              </a:ext>
            </a:extLst>
          </p:cNvPr>
          <p:cNvSpPr txBox="1">
            <a:spLocks/>
          </p:cNvSpPr>
          <p:nvPr/>
        </p:nvSpPr>
        <p:spPr bwMode="black">
          <a:xfrm>
            <a:off x="79078" y="76770"/>
            <a:ext cx="11177742" cy="7075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31632"/>
            <a:r>
              <a:rPr lang="en-US" sz="2800" dirty="0">
                <a:solidFill>
                  <a:srgbClr val="FF4E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lerate business growth</a:t>
            </a:r>
          </a:p>
          <a:p>
            <a:pPr defTabSz="931632"/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798" i="1" u="sng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All Industries </a:t>
            </a:r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with a finance-led, administrative (</a:t>
            </a:r>
            <a:r>
              <a:rPr lang="en-US" sz="1798" i="1" spc="-50" dirty="0" err="1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backoffice</a:t>
            </a:r>
            <a:r>
              <a:rPr lang="en-US" sz="1798" i="1" spc="-50" dirty="0">
                <a:ln w="3175">
                  <a:noFill/>
                </a:ln>
                <a:latin typeface="Arial" panose="020B0604020202020204" pitchFamily="34" charset="0"/>
                <a:cs typeface="Arial" panose="020B0604020202020204" pitchFamily="34" charset="0"/>
              </a:rPr>
              <a:t>) ER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57658B-6A9A-465A-B159-36A7D4F71712}"/>
              </a:ext>
            </a:extLst>
          </p:cNvPr>
          <p:cNvSpPr txBox="1"/>
          <p:nvPr/>
        </p:nvSpPr>
        <p:spPr>
          <a:xfrm>
            <a:off x="7808883" y="6480906"/>
            <a:ext cx="3447937" cy="161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50" kern="0">
                <a:ea typeface="Arial Unicode MS" pitchFamily="34" charset="-128"/>
                <a:cs typeface="Arial Unicode MS" pitchFamily="34" charset="-128"/>
              </a:rPr>
              <a:t>*except highly regulated industries such as Healthcar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C2F2CF9-43DF-4B10-AF6E-9C0E2DBD8741}"/>
              </a:ext>
            </a:extLst>
          </p:cNvPr>
          <p:cNvSpPr/>
          <p:nvPr/>
        </p:nvSpPr>
        <p:spPr bwMode="gray">
          <a:xfrm>
            <a:off x="1457755" y="1428399"/>
            <a:ext cx="10054801" cy="5698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3304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6" kern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1A58249-1274-43F0-9A5B-A79BAAA88061}"/>
              </a:ext>
            </a:extLst>
          </p:cNvPr>
          <p:cNvSpPr/>
          <p:nvPr/>
        </p:nvSpPr>
        <p:spPr bwMode="gray">
          <a:xfrm>
            <a:off x="1457968" y="1992852"/>
            <a:ext cx="10054564" cy="3020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08" tIns="71924" rIns="89908" bIns="71924" rtlCol="0" anchor="ctr"/>
          <a:lstStyle/>
          <a:p>
            <a:pPr algn="ctr" defTabSz="912482">
              <a:lnSpc>
                <a:spcPct val="90000"/>
              </a:lnSpc>
              <a:spcBef>
                <a:spcPts val="300"/>
              </a:spcBef>
            </a:pPr>
            <a:r>
              <a:rPr lang="en-US" sz="1100" b="1" kern="0">
                <a:solidFill>
                  <a:srgbClr val="000000"/>
                </a:solidFill>
              </a:rPr>
              <a:t>Order to Cash | Procure to Pay | Record to Report | Financial Planning &amp; Analytics</a:t>
            </a:r>
            <a:endParaRPr lang="en-IN" sz="1100" b="1" kern="0">
              <a:solidFill>
                <a:srgbClr val="000000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F387A5A-FF25-4122-9DC5-711F6EA702B9}"/>
              </a:ext>
            </a:extLst>
          </p:cNvPr>
          <p:cNvSpPr/>
          <p:nvPr/>
        </p:nvSpPr>
        <p:spPr bwMode="gray">
          <a:xfrm>
            <a:off x="1457210" y="2289282"/>
            <a:ext cx="10054564" cy="592198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61" tIns="71887" rIns="89861" bIns="71887" rtlCol="0" anchor="ctr"/>
          <a:lstStyle/>
          <a:p>
            <a:pPr algn="ctr" defTabSz="91284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IN" sz="1795" kern="0" err="1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A08FEDC-9B65-4976-9098-EECD0C8E5388}"/>
              </a:ext>
            </a:extLst>
          </p:cNvPr>
          <p:cNvSpPr txBox="1"/>
          <p:nvPr/>
        </p:nvSpPr>
        <p:spPr>
          <a:xfrm>
            <a:off x="5577224" y="1613188"/>
            <a:ext cx="1071955" cy="1845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200" b="1" kern="0">
                <a:ea typeface="Arial Unicode MS" pitchFamily="34" charset="-128"/>
                <a:cs typeface="Arial Unicode MS" pitchFamily="34" charset="-128"/>
              </a:rPr>
              <a:t>All Industries*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C20F430F-03F6-47E5-9B76-C64908255BF8}"/>
              </a:ext>
            </a:extLst>
          </p:cNvPr>
          <p:cNvGraphicFramePr>
            <a:graphicFrameLocks noGrp="1"/>
          </p:cNvGraphicFramePr>
          <p:nvPr/>
        </p:nvGraphicFramePr>
        <p:xfrm>
          <a:off x="2887107" y="2363142"/>
          <a:ext cx="8624668" cy="392308"/>
        </p:xfrm>
        <a:graphic>
          <a:graphicData uri="http://schemas.openxmlformats.org/drawingml/2006/table">
            <a:tbl>
              <a:tblPr/>
              <a:tblGrid>
                <a:gridCol w="2687639">
                  <a:extLst>
                    <a:ext uri="{9D8B030D-6E8A-4147-A177-3AD203B41FA5}">
                      <a16:colId xmlns:a16="http://schemas.microsoft.com/office/drawing/2014/main" val="3843060819"/>
                    </a:ext>
                  </a:extLst>
                </a:gridCol>
                <a:gridCol w="2693131">
                  <a:extLst>
                    <a:ext uri="{9D8B030D-6E8A-4147-A177-3AD203B41FA5}">
                      <a16:colId xmlns:a16="http://schemas.microsoft.com/office/drawing/2014/main" val="667175455"/>
                    </a:ext>
                  </a:extLst>
                </a:gridCol>
                <a:gridCol w="3243898">
                  <a:extLst>
                    <a:ext uri="{9D8B030D-6E8A-4147-A177-3AD203B41FA5}">
                      <a16:colId xmlns:a16="http://schemas.microsoft.com/office/drawing/2014/main" val="2272320686"/>
                    </a:ext>
                  </a:extLst>
                </a:gridCol>
              </a:tblGrid>
              <a:tr h="392308"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ern SaaS Cloud ERP at Any Scale and Scope</a:t>
                      </a: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quely simple financials</a:t>
                      </a:r>
                    </a:p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ghtly integrated O2C, P2P, R2R</a:t>
                      </a: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883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en-US" sz="10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ularity to include SAP LOB, Industry Cloud and customer scope now or in future</a:t>
                      </a:r>
                    </a:p>
                  </a:txBody>
                  <a:tcPr marL="4537" marR="4537" marT="453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490308"/>
                  </a:ext>
                </a:extLst>
              </a:tr>
            </a:tbl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641F6D67-8FED-4A3E-B3A5-A9C93C87094C}"/>
              </a:ext>
            </a:extLst>
          </p:cNvPr>
          <p:cNvSpPr txBox="1"/>
          <p:nvPr/>
        </p:nvSpPr>
        <p:spPr>
          <a:xfrm>
            <a:off x="1540836" y="1619858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Industrie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EC1E0800-0911-430D-85DC-9A0E43F2FC68}"/>
              </a:ext>
            </a:extLst>
          </p:cNvPr>
          <p:cNvSpPr txBox="1"/>
          <p:nvPr/>
        </p:nvSpPr>
        <p:spPr>
          <a:xfrm>
            <a:off x="1540836" y="2045479"/>
            <a:ext cx="924911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Scenarios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CB4BCC7-3161-4C42-9BFD-4B716CF80949}"/>
              </a:ext>
            </a:extLst>
          </p:cNvPr>
          <p:cNvSpPr txBox="1"/>
          <p:nvPr/>
        </p:nvSpPr>
        <p:spPr>
          <a:xfrm>
            <a:off x="1542895" y="2492963"/>
            <a:ext cx="1135045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u="sng" kern="0">
                <a:ea typeface="Arial Unicode MS" pitchFamily="34" charset="-128"/>
              </a:rPr>
              <a:t>Differentiation</a:t>
            </a:r>
            <a:r>
              <a:rPr lang="en-US" sz="1100" b="1" kern="0">
                <a:ea typeface="Arial Unicode MS" pitchFamily="34" charset="-128"/>
              </a:rPr>
              <a:t>: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FF73E8F-B063-4E1F-B10B-448D570AAEB3}"/>
              </a:ext>
            </a:extLst>
          </p:cNvPr>
          <p:cNvSpPr/>
          <p:nvPr/>
        </p:nvSpPr>
        <p:spPr bwMode="gray">
          <a:xfrm>
            <a:off x="526549" y="1427694"/>
            <a:ext cx="887856" cy="14506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885" tIns="71905" rIns="89885" bIns="71905" rtlCol="0" anchor="ctr"/>
          <a:lstStyle/>
          <a:p>
            <a:pPr algn="ctr" defTabSz="91303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CA" sz="1100" b="1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16200000" scaled="1"/>
                </a:gradFill>
                <a:ea typeface="ＭＳ Ｐゴシック"/>
                <a:cs typeface="Arial"/>
              </a:rPr>
              <a:t>Finance-Led</a:t>
            </a: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76444097-B1FA-46D7-8062-25CE8B16AB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2482" y="1421264"/>
            <a:ext cx="407789" cy="407789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98BE1968-6488-4272-B39F-CB5E87977D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3616" y="1613906"/>
            <a:ext cx="436697" cy="436697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742ADD3B-0D95-4238-AA04-EF5C506F41D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8239" y="1608469"/>
            <a:ext cx="359052" cy="359052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31135A8C-9F58-4AA1-B826-B01A626DB5C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4294" y="1451536"/>
            <a:ext cx="359052" cy="359052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D7448E82-C530-403E-9FBF-B83C7CFABD6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7848" y="1400655"/>
            <a:ext cx="483784" cy="483784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C520007C-6ABF-4C89-AEBD-D2EB358605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01390" y="1648278"/>
            <a:ext cx="319244" cy="319244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638A55C8-9DFA-49E2-A60F-C6A2F7F9A4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27945" y="1503607"/>
            <a:ext cx="463915" cy="463915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E8C3AFCB-1765-43D6-A4AB-6E5D68F79C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26852" y="1433878"/>
            <a:ext cx="395175" cy="395175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FD6EF95-668E-4268-887B-48205B27522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4715" y="1416293"/>
            <a:ext cx="368074" cy="361803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70FE74E4-9271-4565-80F9-FE3EA00503E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03556" y="1665888"/>
            <a:ext cx="302416" cy="302416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ADB4667-7C3D-4D5B-8E9F-6AAE9F3E593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6194" y="1426108"/>
            <a:ext cx="348098" cy="342168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742358A7-8450-4A2E-B833-FBCA17775A2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46361" y="1659750"/>
            <a:ext cx="314695" cy="314695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F883C76D-C8CA-4D1B-A058-FC3DBE1FBA78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696" y="1455017"/>
            <a:ext cx="289284" cy="284355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E7608103-81C4-418A-9890-089B611DAE0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901441" y="1672019"/>
            <a:ext cx="290154" cy="290154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3B4D57EC-40F4-43ED-9A6B-2F1A80B05F5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230384" y="1399378"/>
            <a:ext cx="395631" cy="395631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FC385880-04C2-49D2-8647-8B6E82FC4A14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9700" y="1437570"/>
            <a:ext cx="319244" cy="319244"/>
          </a:xfrm>
          <a:prstGeom prst="rect">
            <a:avLst/>
          </a:prstGeom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F47B5F53-BBFA-4A70-BAAA-EC75C7A1B7FE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9418" y="1397219"/>
            <a:ext cx="406876" cy="399944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A82C834D-EC67-46BA-8395-6D2ED4C1306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657373" y="1668158"/>
            <a:ext cx="297876" cy="297876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0729B316-8B91-4E4C-A4D4-ECB34DB642B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759678" y="1661521"/>
            <a:ext cx="311150" cy="311150"/>
          </a:xfrm>
          <a:prstGeom prst="rect">
            <a:avLst/>
          </a:prstGeom>
        </p:spPr>
      </p:pic>
      <p:sp>
        <p:nvSpPr>
          <p:cNvPr id="298" name="TextBox 297">
            <a:extLst>
              <a:ext uri="{FF2B5EF4-FFF2-40B4-BE49-F238E27FC236}">
                <a16:creationId xmlns:a16="http://schemas.microsoft.com/office/drawing/2014/main" id="{72505E57-19F5-472C-B72F-7DA0F4E6BF92}"/>
              </a:ext>
            </a:extLst>
          </p:cNvPr>
          <p:cNvSpPr txBox="1"/>
          <p:nvPr/>
        </p:nvSpPr>
        <p:spPr>
          <a:xfrm>
            <a:off x="691591" y="3569217"/>
            <a:ext cx="2488282" cy="169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b="1" kern="0">
                <a:ea typeface="Arial Unicode MS" pitchFamily="34" charset="-128"/>
              </a:rPr>
              <a:t>Administrative ERP Value Chain:</a:t>
            </a:r>
          </a:p>
        </p:txBody>
      </p: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8CA81EA2-D327-4B1D-B84E-E4CED3AAE4F2}"/>
              </a:ext>
            </a:extLst>
          </p:cNvPr>
          <p:cNvGrpSpPr/>
          <p:nvPr/>
        </p:nvGrpSpPr>
        <p:grpSpPr>
          <a:xfrm>
            <a:off x="689414" y="3205441"/>
            <a:ext cx="10859523" cy="278580"/>
            <a:chOff x="689773" y="3107537"/>
            <a:chExt cx="11039325" cy="278726"/>
          </a:xfrm>
        </p:grpSpPr>
        <p:sp>
          <p:nvSpPr>
            <p:cNvPr id="300" name="Arrow: Pentagon 87">
              <a:extLst>
                <a:ext uri="{FF2B5EF4-FFF2-40B4-BE49-F238E27FC236}">
                  <a16:creationId xmlns:a16="http://schemas.microsoft.com/office/drawing/2014/main" id="{1521BE7D-36C8-43DF-989F-03FFC516A099}"/>
                </a:ext>
              </a:extLst>
            </p:cNvPr>
            <p:cNvSpPr/>
            <p:nvPr/>
          </p:nvSpPr>
          <p:spPr>
            <a:xfrm>
              <a:off x="9303789" y="3107537"/>
              <a:ext cx="2425309" cy="278726"/>
            </a:xfrm>
            <a:prstGeom prst="homePlat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144">
                <a:defRPr/>
              </a:pPr>
              <a:r>
                <a:rPr lang="en-US" sz="1400" b="1">
                  <a:solidFill>
                    <a:srgbClr val="FFFFFF"/>
                  </a:solidFill>
                  <a:latin typeface="Arial"/>
                </a:rPr>
                <a:t>Record to Report</a:t>
              </a:r>
            </a:p>
          </p:txBody>
        </p:sp>
        <p:sp>
          <p:nvSpPr>
            <p:cNvPr id="301" name="Arrow: Pentagon 89">
              <a:extLst>
                <a:ext uri="{FF2B5EF4-FFF2-40B4-BE49-F238E27FC236}">
                  <a16:creationId xmlns:a16="http://schemas.microsoft.com/office/drawing/2014/main" id="{4C694BD3-2212-4C1B-9031-15F1D0D441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41692" y="3107537"/>
              <a:ext cx="4530626" cy="277767"/>
            </a:xfrm>
            <a:prstGeom prst="homePlat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144">
                <a:defRPr/>
              </a:pPr>
              <a:r>
                <a:rPr lang="en-US" sz="1400" b="1">
                  <a:solidFill>
                    <a:srgbClr val="FFFFFF"/>
                  </a:solidFill>
                  <a:latin typeface="Arial"/>
                </a:rPr>
                <a:t>Order to Cash</a:t>
              </a:r>
            </a:p>
          </p:txBody>
        </p:sp>
        <p:sp>
          <p:nvSpPr>
            <p:cNvPr id="302" name="Arrow: Pentagon 88">
              <a:extLst>
                <a:ext uri="{FF2B5EF4-FFF2-40B4-BE49-F238E27FC236}">
                  <a16:creationId xmlns:a16="http://schemas.microsoft.com/office/drawing/2014/main" id="{5B6BE3AC-4467-4BBB-88BC-9FB31298DC6E}"/>
                </a:ext>
              </a:extLst>
            </p:cNvPr>
            <p:cNvSpPr>
              <a:spLocks/>
            </p:cNvSpPr>
            <p:nvPr/>
          </p:nvSpPr>
          <p:spPr>
            <a:xfrm>
              <a:off x="689773" y="3107537"/>
              <a:ext cx="4427187" cy="278716"/>
            </a:xfrm>
            <a:prstGeom prst="homePlate">
              <a:avLst/>
            </a:prstGeom>
            <a:solidFill>
              <a:srgbClr val="008B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7796">
                <a:defRPr/>
              </a:pPr>
              <a:r>
                <a:rPr lang="en-US" sz="1400" b="1">
                  <a:solidFill>
                    <a:schemeClr val="bg1"/>
                  </a:solidFill>
                  <a:latin typeface="Arial"/>
                </a:rPr>
                <a:t>Source to Pay</a:t>
              </a:r>
            </a:p>
          </p:txBody>
        </p:sp>
      </p:grpSp>
      <p:grpSp>
        <p:nvGrpSpPr>
          <p:cNvPr id="351" name="Group 350">
            <a:extLst>
              <a:ext uri="{FF2B5EF4-FFF2-40B4-BE49-F238E27FC236}">
                <a16:creationId xmlns:a16="http://schemas.microsoft.com/office/drawing/2014/main" id="{275D9BFC-C67B-4561-A0FB-40BD0B6A2A41}"/>
              </a:ext>
            </a:extLst>
          </p:cNvPr>
          <p:cNvGrpSpPr/>
          <p:nvPr/>
        </p:nvGrpSpPr>
        <p:grpSpPr>
          <a:xfrm>
            <a:off x="544866" y="3791273"/>
            <a:ext cx="11337093" cy="2237429"/>
            <a:chOff x="545149" y="3495386"/>
            <a:chExt cx="11342997" cy="2238595"/>
          </a:xfrm>
        </p:grpSpPr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2295C4B5-58CF-4FAF-9383-B0F926A9567C}"/>
                </a:ext>
              </a:extLst>
            </p:cNvPr>
            <p:cNvSpPr/>
            <p:nvPr/>
          </p:nvSpPr>
          <p:spPr bwMode="gray">
            <a:xfrm>
              <a:off x="5263305" y="3798702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67892E6B-C72D-4872-B0E4-117DCF29DD7B}"/>
                </a:ext>
              </a:extLst>
            </p:cNvPr>
            <p:cNvSpPr/>
            <p:nvPr/>
          </p:nvSpPr>
          <p:spPr bwMode="gray">
            <a:xfrm>
              <a:off x="848683" y="3762738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4D8D2AC4-88DD-4A09-906D-51D4E01620F1}"/>
                </a:ext>
              </a:extLst>
            </p:cNvPr>
            <p:cNvSpPr/>
            <p:nvPr/>
          </p:nvSpPr>
          <p:spPr bwMode="gray">
            <a:xfrm>
              <a:off x="3075577" y="3775517"/>
              <a:ext cx="1632333" cy="1632331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55" name="Oval 354">
              <a:extLst>
                <a:ext uri="{FF2B5EF4-FFF2-40B4-BE49-F238E27FC236}">
                  <a16:creationId xmlns:a16="http://schemas.microsoft.com/office/drawing/2014/main" id="{99048C62-3B37-4E77-AAA7-C67FFE1EACF4}"/>
                </a:ext>
              </a:extLst>
            </p:cNvPr>
            <p:cNvSpPr/>
            <p:nvPr/>
          </p:nvSpPr>
          <p:spPr bwMode="gray">
            <a:xfrm>
              <a:off x="7499394" y="3789124"/>
              <a:ext cx="1632333" cy="1632332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56" name="Oval 355">
              <a:extLst>
                <a:ext uri="{FF2B5EF4-FFF2-40B4-BE49-F238E27FC236}">
                  <a16:creationId xmlns:a16="http://schemas.microsoft.com/office/drawing/2014/main" id="{12BE6948-8F21-4B11-8A6E-02DC9462E27D}"/>
                </a:ext>
              </a:extLst>
            </p:cNvPr>
            <p:cNvSpPr/>
            <p:nvPr/>
          </p:nvSpPr>
          <p:spPr bwMode="gray">
            <a:xfrm>
              <a:off x="9778843" y="3801902"/>
              <a:ext cx="1632333" cy="1632332"/>
            </a:xfrm>
            <a:prstGeom prst="ellipse">
              <a:avLst/>
            </a:prstGeom>
            <a:noFill/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57" name="Rectangle 356">
              <a:extLst>
                <a:ext uri="{FF2B5EF4-FFF2-40B4-BE49-F238E27FC236}">
                  <a16:creationId xmlns:a16="http://schemas.microsoft.com/office/drawing/2014/main" id="{CC594636-8E97-4342-8545-7ED9A2EDAC67}"/>
                </a:ext>
              </a:extLst>
            </p:cNvPr>
            <p:cNvSpPr/>
            <p:nvPr/>
          </p:nvSpPr>
          <p:spPr bwMode="gray">
            <a:xfrm>
              <a:off x="648483" y="4377978"/>
              <a:ext cx="6282332" cy="42741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58" name="Straight Arrow Connector 357">
              <a:extLst>
                <a:ext uri="{FF2B5EF4-FFF2-40B4-BE49-F238E27FC236}">
                  <a16:creationId xmlns:a16="http://schemas.microsoft.com/office/drawing/2014/main" id="{771DD656-1843-48D9-9AE3-9069DB696E8D}"/>
                </a:ext>
              </a:extLst>
            </p:cNvPr>
            <p:cNvCxnSpPr>
              <a:cxnSpLocks/>
            </p:cNvCxnSpPr>
            <p:nvPr/>
          </p:nvCxnSpPr>
          <p:spPr>
            <a:xfrm>
              <a:off x="2739819" y="4624737"/>
              <a:ext cx="15305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359" name="Triangle 40">
              <a:extLst>
                <a:ext uri="{FF2B5EF4-FFF2-40B4-BE49-F238E27FC236}">
                  <a16:creationId xmlns:a16="http://schemas.microsoft.com/office/drawing/2014/main" id="{F0E9D542-262C-4688-8766-AB54C34646D4}"/>
                </a:ext>
              </a:extLst>
            </p:cNvPr>
            <p:cNvSpPr/>
            <p:nvPr/>
          </p:nvSpPr>
          <p:spPr bwMode="gray">
            <a:xfrm rot="20754863">
              <a:off x="845138" y="4758194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60" name="Triangle 49">
              <a:extLst>
                <a:ext uri="{FF2B5EF4-FFF2-40B4-BE49-F238E27FC236}">
                  <a16:creationId xmlns:a16="http://schemas.microsoft.com/office/drawing/2014/main" id="{01C53057-F091-428D-BCC5-10A549E6B6EA}"/>
                </a:ext>
              </a:extLst>
            </p:cNvPr>
            <p:cNvSpPr/>
            <p:nvPr/>
          </p:nvSpPr>
          <p:spPr bwMode="gray">
            <a:xfrm rot="20754863">
              <a:off x="3065294" y="4758194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61" name="Straight Arrow Connector 360">
              <a:extLst>
                <a:ext uri="{FF2B5EF4-FFF2-40B4-BE49-F238E27FC236}">
                  <a16:creationId xmlns:a16="http://schemas.microsoft.com/office/drawing/2014/main" id="{40FE197A-0A6D-4934-A670-2C5C7842AC36}"/>
                </a:ext>
              </a:extLst>
            </p:cNvPr>
            <p:cNvCxnSpPr>
              <a:cxnSpLocks/>
            </p:cNvCxnSpPr>
            <p:nvPr/>
          </p:nvCxnSpPr>
          <p:spPr>
            <a:xfrm>
              <a:off x="4894095" y="4624737"/>
              <a:ext cx="15305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7A6D3FD1-8874-4F37-89C6-E001B0135A09}"/>
                </a:ext>
              </a:extLst>
            </p:cNvPr>
            <p:cNvSpPr/>
            <p:nvPr/>
          </p:nvSpPr>
          <p:spPr bwMode="gray">
            <a:xfrm>
              <a:off x="7421465" y="4404360"/>
              <a:ext cx="4466681" cy="42741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363" name="Straight Arrow Connector 362">
              <a:extLst>
                <a:ext uri="{FF2B5EF4-FFF2-40B4-BE49-F238E27FC236}">
                  <a16:creationId xmlns:a16="http://schemas.microsoft.com/office/drawing/2014/main" id="{602D3D8B-4627-4A39-B7F9-6D224BB118C9}"/>
                </a:ext>
              </a:extLst>
            </p:cNvPr>
            <p:cNvCxnSpPr>
              <a:cxnSpLocks/>
            </p:cNvCxnSpPr>
            <p:nvPr/>
          </p:nvCxnSpPr>
          <p:spPr>
            <a:xfrm>
              <a:off x="9397045" y="4624737"/>
              <a:ext cx="15305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364" name="Triangle 71">
              <a:extLst>
                <a:ext uri="{FF2B5EF4-FFF2-40B4-BE49-F238E27FC236}">
                  <a16:creationId xmlns:a16="http://schemas.microsoft.com/office/drawing/2014/main" id="{FBCD74E9-DF17-44AE-970E-BBAF02B68380}"/>
                </a:ext>
              </a:extLst>
            </p:cNvPr>
            <p:cNvSpPr/>
            <p:nvPr/>
          </p:nvSpPr>
          <p:spPr bwMode="gray">
            <a:xfrm rot="20754863">
              <a:off x="7492508" y="4784581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65" name="Triangle 72">
              <a:extLst>
                <a:ext uri="{FF2B5EF4-FFF2-40B4-BE49-F238E27FC236}">
                  <a16:creationId xmlns:a16="http://schemas.microsoft.com/office/drawing/2014/main" id="{519B9472-9636-46F1-843D-A27F09693E26}"/>
                </a:ext>
              </a:extLst>
            </p:cNvPr>
            <p:cNvSpPr/>
            <p:nvPr/>
          </p:nvSpPr>
          <p:spPr bwMode="gray">
            <a:xfrm rot="9589765">
              <a:off x="9073429" y="4378240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66" name="Triangle 79">
              <a:extLst>
                <a:ext uri="{FF2B5EF4-FFF2-40B4-BE49-F238E27FC236}">
                  <a16:creationId xmlns:a16="http://schemas.microsoft.com/office/drawing/2014/main" id="{C3F19D5B-315D-4A2B-BD9E-461276646B21}"/>
                </a:ext>
              </a:extLst>
            </p:cNvPr>
            <p:cNvSpPr/>
            <p:nvPr/>
          </p:nvSpPr>
          <p:spPr bwMode="gray">
            <a:xfrm rot="20754863">
              <a:off x="9768559" y="4784581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67" name="Triangle 80">
              <a:extLst>
                <a:ext uri="{FF2B5EF4-FFF2-40B4-BE49-F238E27FC236}">
                  <a16:creationId xmlns:a16="http://schemas.microsoft.com/office/drawing/2014/main" id="{244658C5-0971-4FF4-8993-AFD7BBBC0160}"/>
                </a:ext>
              </a:extLst>
            </p:cNvPr>
            <p:cNvSpPr/>
            <p:nvPr/>
          </p:nvSpPr>
          <p:spPr bwMode="gray">
            <a:xfrm rot="9589765">
              <a:off x="11349481" y="4378240"/>
              <a:ext cx="79570" cy="9204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endParaRPr lang="en-US" sz="1798" kern="0"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368" name="Picture 367">
              <a:extLst>
                <a:ext uri="{FF2B5EF4-FFF2-40B4-BE49-F238E27FC236}">
                  <a16:creationId xmlns:a16="http://schemas.microsoft.com/office/drawing/2014/main" id="{EF87926A-1174-405F-925C-46205EEA6E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2207" y="4435809"/>
              <a:ext cx="360000" cy="360000"/>
            </a:xfrm>
            <a:prstGeom prst="rect">
              <a:avLst/>
            </a:prstGeom>
          </p:spPr>
        </p:pic>
        <p:pic>
          <p:nvPicPr>
            <p:cNvPr id="369" name="Picture 368">
              <a:extLst>
                <a:ext uri="{FF2B5EF4-FFF2-40B4-BE49-F238E27FC236}">
                  <a16:creationId xmlns:a16="http://schemas.microsoft.com/office/drawing/2014/main" id="{5C4963C8-9251-4129-901B-58CFC262F9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59275" y="4433151"/>
              <a:ext cx="360000" cy="360000"/>
            </a:xfrm>
            <a:prstGeom prst="rect">
              <a:avLst/>
            </a:prstGeom>
          </p:spPr>
        </p:pic>
        <p:pic>
          <p:nvPicPr>
            <p:cNvPr id="370" name="Picture 369" descr="Icon&#10;&#10;Description automatically generated">
              <a:extLst>
                <a:ext uri="{FF2B5EF4-FFF2-40B4-BE49-F238E27FC236}">
                  <a16:creationId xmlns:a16="http://schemas.microsoft.com/office/drawing/2014/main" id="{2F1589DB-6BC6-4D39-8477-0FB8EB81A9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9323" y="4443601"/>
              <a:ext cx="306857" cy="306857"/>
            </a:xfrm>
            <a:prstGeom prst="rect">
              <a:avLst/>
            </a:prstGeom>
          </p:spPr>
        </p:pic>
        <p:pic>
          <p:nvPicPr>
            <p:cNvPr id="371" name="Picture 370">
              <a:extLst>
                <a:ext uri="{FF2B5EF4-FFF2-40B4-BE49-F238E27FC236}">
                  <a16:creationId xmlns:a16="http://schemas.microsoft.com/office/drawing/2014/main" id="{E6F862B6-7D38-4930-8C4A-DBBA82D0F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0369" y="4435809"/>
              <a:ext cx="377857" cy="377857"/>
            </a:xfrm>
            <a:prstGeom prst="rect">
              <a:avLst/>
            </a:prstGeom>
          </p:spPr>
        </p:pic>
        <p:pic>
          <p:nvPicPr>
            <p:cNvPr id="372" name="Picture 371">
              <a:extLst>
                <a:ext uri="{FF2B5EF4-FFF2-40B4-BE49-F238E27FC236}">
                  <a16:creationId xmlns:a16="http://schemas.microsoft.com/office/drawing/2014/main" id="{9000D244-7D10-430C-BA60-FB8F07C8C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95793" y="4470739"/>
              <a:ext cx="307996" cy="307996"/>
            </a:xfrm>
            <a:prstGeom prst="rect">
              <a:avLst/>
            </a:prstGeom>
          </p:spPr>
        </p:pic>
        <p:pic>
          <p:nvPicPr>
            <p:cNvPr id="373" name="Picture 372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01BB1EC0-4216-4D68-9D82-E2A766689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58116" y="4468133"/>
              <a:ext cx="313208" cy="313208"/>
            </a:xfrm>
            <a:prstGeom prst="rect">
              <a:avLst/>
            </a:prstGeom>
          </p:spPr>
        </p:pic>
        <p:pic>
          <p:nvPicPr>
            <p:cNvPr id="374" name="Picture 373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D6E35415-E21B-4A52-A23E-A69B9F672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70283" y="4482403"/>
              <a:ext cx="284669" cy="284669"/>
            </a:xfrm>
            <a:prstGeom prst="rect">
              <a:avLst/>
            </a:prstGeom>
          </p:spPr>
        </p:pic>
        <p:cxnSp>
          <p:nvCxnSpPr>
            <p:cNvPr id="375" name="Straight Arrow Connector 374">
              <a:extLst>
                <a:ext uri="{FF2B5EF4-FFF2-40B4-BE49-F238E27FC236}">
                  <a16:creationId xmlns:a16="http://schemas.microsoft.com/office/drawing/2014/main" id="{BEB9C60E-24C4-47C9-A86F-3098D284A667}"/>
                </a:ext>
              </a:extLst>
            </p:cNvPr>
            <p:cNvCxnSpPr>
              <a:cxnSpLocks/>
            </p:cNvCxnSpPr>
            <p:nvPr/>
          </p:nvCxnSpPr>
          <p:spPr>
            <a:xfrm>
              <a:off x="5449197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76" name="Straight Arrow Connector 375">
              <a:extLst>
                <a:ext uri="{FF2B5EF4-FFF2-40B4-BE49-F238E27FC236}">
                  <a16:creationId xmlns:a16="http://schemas.microsoft.com/office/drawing/2014/main" id="{AF003073-BCF1-41BD-BE24-BE4D8EAC0956}"/>
                </a:ext>
              </a:extLst>
            </p:cNvPr>
            <p:cNvCxnSpPr>
              <a:cxnSpLocks/>
            </p:cNvCxnSpPr>
            <p:nvPr/>
          </p:nvCxnSpPr>
          <p:spPr>
            <a:xfrm>
              <a:off x="6285417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77" name="Straight Arrow Connector 376">
              <a:extLst>
                <a:ext uri="{FF2B5EF4-FFF2-40B4-BE49-F238E27FC236}">
                  <a16:creationId xmlns:a16="http://schemas.microsoft.com/office/drawing/2014/main" id="{C3DF5D71-B2B6-434D-AC06-12CDC5568D1C}"/>
                </a:ext>
              </a:extLst>
            </p:cNvPr>
            <p:cNvCxnSpPr>
              <a:cxnSpLocks/>
            </p:cNvCxnSpPr>
            <p:nvPr/>
          </p:nvCxnSpPr>
          <p:spPr>
            <a:xfrm>
              <a:off x="7070369" y="4624737"/>
              <a:ext cx="15305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78" name="Straight Arrow Connector 377">
              <a:extLst>
                <a:ext uri="{FF2B5EF4-FFF2-40B4-BE49-F238E27FC236}">
                  <a16:creationId xmlns:a16="http://schemas.microsoft.com/office/drawing/2014/main" id="{9B798D38-FBE2-44CC-B590-D931F5AAB452}"/>
                </a:ext>
              </a:extLst>
            </p:cNvPr>
            <p:cNvCxnSpPr>
              <a:cxnSpLocks/>
            </p:cNvCxnSpPr>
            <p:nvPr/>
          </p:nvCxnSpPr>
          <p:spPr>
            <a:xfrm>
              <a:off x="7742233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79" name="Straight Arrow Connector 378">
              <a:extLst>
                <a:ext uri="{FF2B5EF4-FFF2-40B4-BE49-F238E27FC236}">
                  <a16:creationId xmlns:a16="http://schemas.microsoft.com/office/drawing/2014/main" id="{D8B986B6-2B34-48CB-8BBC-2300CAC88C81}"/>
                </a:ext>
              </a:extLst>
            </p:cNvPr>
            <p:cNvCxnSpPr>
              <a:cxnSpLocks/>
            </p:cNvCxnSpPr>
            <p:nvPr/>
          </p:nvCxnSpPr>
          <p:spPr>
            <a:xfrm>
              <a:off x="8578453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80" name="Straight Arrow Connector 379">
              <a:extLst>
                <a:ext uri="{FF2B5EF4-FFF2-40B4-BE49-F238E27FC236}">
                  <a16:creationId xmlns:a16="http://schemas.microsoft.com/office/drawing/2014/main" id="{1082C07F-6FF8-455F-A81E-A15410AD943A}"/>
                </a:ext>
              </a:extLst>
            </p:cNvPr>
            <p:cNvCxnSpPr>
              <a:cxnSpLocks/>
            </p:cNvCxnSpPr>
            <p:nvPr/>
          </p:nvCxnSpPr>
          <p:spPr>
            <a:xfrm>
              <a:off x="9977505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381" name="Straight Arrow Connector 380">
              <a:extLst>
                <a:ext uri="{FF2B5EF4-FFF2-40B4-BE49-F238E27FC236}">
                  <a16:creationId xmlns:a16="http://schemas.microsoft.com/office/drawing/2014/main" id="{4EFF648E-54F6-4BD1-B03E-ACE5395A38CC}"/>
                </a:ext>
              </a:extLst>
            </p:cNvPr>
            <p:cNvCxnSpPr>
              <a:cxnSpLocks/>
            </p:cNvCxnSpPr>
            <p:nvPr/>
          </p:nvCxnSpPr>
          <p:spPr>
            <a:xfrm>
              <a:off x="10813725" y="4624737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pic>
          <p:nvPicPr>
            <p:cNvPr id="382" name="Picture 381">
              <a:extLst>
                <a:ext uri="{FF2B5EF4-FFF2-40B4-BE49-F238E27FC236}">
                  <a16:creationId xmlns:a16="http://schemas.microsoft.com/office/drawing/2014/main" id="{83E20575-59A5-44F1-9C64-1BD799AB4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7983" y="4425685"/>
              <a:ext cx="396000" cy="39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83" name="Picture 382">
              <a:extLst>
                <a:ext uri="{FF2B5EF4-FFF2-40B4-BE49-F238E27FC236}">
                  <a16:creationId xmlns:a16="http://schemas.microsoft.com/office/drawing/2014/main" id="{F759FC70-CE1B-4342-800B-3DE073DD26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2138978" y="4381296"/>
              <a:ext cx="488370" cy="488370"/>
            </a:xfrm>
            <a:prstGeom prst="rect">
              <a:avLst/>
            </a:prstGeom>
            <a:noFill/>
          </p:spPr>
        </p:pic>
        <p:pic>
          <p:nvPicPr>
            <p:cNvPr id="384" name="Picture 383">
              <a:extLst>
                <a:ext uri="{FF2B5EF4-FFF2-40B4-BE49-F238E27FC236}">
                  <a16:creationId xmlns:a16="http://schemas.microsoft.com/office/drawing/2014/main" id="{5793F256-2D35-4427-B03A-71C5B7BBC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9773" y="4445183"/>
              <a:ext cx="360000" cy="360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5" name="Rectangle 384">
              <a:extLst>
                <a:ext uri="{FF2B5EF4-FFF2-40B4-BE49-F238E27FC236}">
                  <a16:creationId xmlns:a16="http://schemas.microsoft.com/office/drawing/2014/main" id="{C60457CF-4C0F-4E00-949B-4CBF0F9D5CAC}"/>
                </a:ext>
              </a:extLst>
            </p:cNvPr>
            <p:cNvSpPr/>
            <p:nvPr/>
          </p:nvSpPr>
          <p:spPr bwMode="gray">
            <a:xfrm>
              <a:off x="5116960" y="3884501"/>
              <a:ext cx="608730" cy="398058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Receive customer order</a:t>
              </a:r>
            </a:p>
          </p:txBody>
        </p:sp>
        <p:sp>
          <p:nvSpPr>
            <p:cNvPr id="386" name="Rectangle 385">
              <a:extLst>
                <a:ext uri="{FF2B5EF4-FFF2-40B4-BE49-F238E27FC236}">
                  <a16:creationId xmlns:a16="http://schemas.microsoft.com/office/drawing/2014/main" id="{FC5F2BEC-50CD-4356-9EEF-D4A05BA3DF2D}"/>
                </a:ext>
              </a:extLst>
            </p:cNvPr>
            <p:cNvSpPr/>
            <p:nvPr/>
          </p:nvSpPr>
          <p:spPr bwMode="gray">
            <a:xfrm>
              <a:off x="5837055" y="3632981"/>
              <a:ext cx="659346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onfirm customer order</a:t>
              </a:r>
            </a:p>
          </p:txBody>
        </p:sp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3DB48B11-B8B2-4CE7-8FE2-1E0EC0DF86ED}"/>
                </a:ext>
              </a:extLst>
            </p:cNvPr>
            <p:cNvSpPr/>
            <p:nvPr/>
          </p:nvSpPr>
          <p:spPr bwMode="gray">
            <a:xfrm>
              <a:off x="6391906" y="4018841"/>
              <a:ext cx="918463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Deliver goods &amp; post costs</a:t>
              </a:r>
            </a:p>
          </p:txBody>
        </p:sp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67B56AC8-2554-4F26-A397-763BFF1106A8}"/>
                </a:ext>
              </a:extLst>
            </p:cNvPr>
            <p:cNvSpPr/>
            <p:nvPr/>
          </p:nvSpPr>
          <p:spPr bwMode="gray">
            <a:xfrm>
              <a:off x="6370766" y="4900716"/>
              <a:ext cx="1010309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onfirm services &amp; post costs</a:t>
              </a:r>
            </a:p>
          </p:txBody>
        </p:sp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0B447D84-14FB-47BB-BED5-985014ECD3DB}"/>
                </a:ext>
              </a:extLst>
            </p:cNvPr>
            <p:cNvSpPr/>
            <p:nvPr/>
          </p:nvSpPr>
          <p:spPr bwMode="gray">
            <a:xfrm>
              <a:off x="5632552" y="5375005"/>
              <a:ext cx="834966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onitor order execution </a:t>
              </a:r>
            </a:p>
          </p:txBody>
        </p:sp>
        <p:sp>
          <p:nvSpPr>
            <p:cNvPr id="390" name="Rectangle 389">
              <a:extLst>
                <a:ext uri="{FF2B5EF4-FFF2-40B4-BE49-F238E27FC236}">
                  <a16:creationId xmlns:a16="http://schemas.microsoft.com/office/drawing/2014/main" id="{607E7800-C23A-4D6B-A9A3-F70268B8AA8A}"/>
                </a:ext>
              </a:extLst>
            </p:cNvPr>
            <p:cNvSpPr/>
            <p:nvPr/>
          </p:nvSpPr>
          <p:spPr bwMode="gray">
            <a:xfrm>
              <a:off x="4941691" y="4865662"/>
              <a:ext cx="918463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Handle returns and claims</a:t>
              </a:r>
            </a:p>
          </p:txBody>
        </p:sp>
        <p:sp>
          <p:nvSpPr>
            <p:cNvPr id="391" name="Rectangle 390">
              <a:extLst>
                <a:ext uri="{FF2B5EF4-FFF2-40B4-BE49-F238E27FC236}">
                  <a16:creationId xmlns:a16="http://schemas.microsoft.com/office/drawing/2014/main" id="{3C0F6A44-CA62-4B55-A0AD-5C3ED99E3D96}"/>
                </a:ext>
              </a:extLst>
            </p:cNvPr>
            <p:cNvSpPr/>
            <p:nvPr/>
          </p:nvSpPr>
          <p:spPr bwMode="gray">
            <a:xfrm>
              <a:off x="7408483" y="3831452"/>
              <a:ext cx="918463" cy="35897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ollect billing + usage data </a:t>
              </a:r>
            </a:p>
          </p:txBody>
        </p:sp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B60806E6-4076-4826-A05E-D33DBAAA9323}"/>
                </a:ext>
              </a:extLst>
            </p:cNvPr>
            <p:cNvSpPr/>
            <p:nvPr/>
          </p:nvSpPr>
          <p:spPr bwMode="gray">
            <a:xfrm>
              <a:off x="8484253" y="3871612"/>
              <a:ext cx="918463" cy="22291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Execute invoicing</a:t>
              </a:r>
            </a:p>
          </p:txBody>
        </p:sp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9E4AD644-C71F-4B25-9E24-EE6E97AA9869}"/>
                </a:ext>
              </a:extLst>
            </p:cNvPr>
            <p:cNvSpPr/>
            <p:nvPr/>
          </p:nvSpPr>
          <p:spPr bwMode="gray">
            <a:xfrm>
              <a:off x="8611152" y="4963018"/>
              <a:ext cx="759060" cy="22291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Post revenue</a:t>
              </a:r>
            </a:p>
          </p:txBody>
        </p:sp>
        <p:sp>
          <p:nvSpPr>
            <p:cNvPr id="394" name="Rectangle 393">
              <a:extLst>
                <a:ext uri="{FF2B5EF4-FFF2-40B4-BE49-F238E27FC236}">
                  <a16:creationId xmlns:a16="http://schemas.microsoft.com/office/drawing/2014/main" id="{426B410C-C2B2-42DD-8F8C-5ADC889901E1}"/>
                </a:ext>
              </a:extLst>
            </p:cNvPr>
            <p:cNvSpPr/>
            <p:nvPr/>
          </p:nvSpPr>
          <p:spPr bwMode="gray">
            <a:xfrm>
              <a:off x="7894931" y="5326175"/>
              <a:ext cx="834966" cy="21924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ollect open payments</a:t>
              </a:r>
            </a:p>
          </p:txBody>
        </p:sp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CE5E5E07-553E-4D04-8B33-C5CD31F1245C}"/>
                </a:ext>
              </a:extLst>
            </p:cNvPr>
            <p:cNvSpPr/>
            <p:nvPr/>
          </p:nvSpPr>
          <p:spPr bwMode="gray">
            <a:xfrm>
              <a:off x="7280725" y="4978018"/>
              <a:ext cx="759060" cy="216721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onitor profitability</a:t>
              </a:r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2ADC71FC-8EB8-4B34-BFED-B335B567E305}"/>
                </a:ext>
              </a:extLst>
            </p:cNvPr>
            <p:cNvSpPr/>
            <p:nvPr/>
          </p:nvSpPr>
          <p:spPr bwMode="gray">
            <a:xfrm>
              <a:off x="545149" y="4011204"/>
              <a:ext cx="758863" cy="25222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Demand planning</a:t>
              </a: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BE187557-063F-4826-87D4-720395842F62}"/>
                </a:ext>
              </a:extLst>
            </p:cNvPr>
            <p:cNvSpPr/>
            <p:nvPr/>
          </p:nvSpPr>
          <p:spPr bwMode="gray">
            <a:xfrm>
              <a:off x="1330144" y="3632521"/>
              <a:ext cx="664951" cy="181095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Sourcing</a:t>
              </a:r>
            </a:p>
          </p:txBody>
        </p:sp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7226C9A2-B798-49CE-BC47-2037185DFD21}"/>
                </a:ext>
              </a:extLst>
            </p:cNvPr>
            <p:cNvSpPr/>
            <p:nvPr/>
          </p:nvSpPr>
          <p:spPr bwMode="gray">
            <a:xfrm>
              <a:off x="2025687" y="3941869"/>
              <a:ext cx="758863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reate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purchase order</a:t>
              </a:r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FFE9622C-03F5-40DC-A331-5335E61C38FB}"/>
                </a:ext>
              </a:extLst>
            </p:cNvPr>
            <p:cNvSpPr/>
            <p:nvPr/>
          </p:nvSpPr>
          <p:spPr bwMode="gray">
            <a:xfrm>
              <a:off x="1951334" y="5086378"/>
              <a:ext cx="608161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onfirm Order</a:t>
              </a:r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35A28124-1F6A-482B-AF29-08FA1640DE53}"/>
                </a:ext>
              </a:extLst>
            </p:cNvPr>
            <p:cNvSpPr/>
            <p:nvPr/>
          </p:nvSpPr>
          <p:spPr bwMode="gray">
            <a:xfrm>
              <a:off x="812613" y="5099202"/>
              <a:ext cx="599054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Goods 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receipt</a:t>
              </a:r>
            </a:p>
          </p:txBody>
        </p:sp>
        <p:sp>
          <p:nvSpPr>
            <p:cNvPr id="401" name="Rectangle 400">
              <a:extLst>
                <a:ext uri="{FF2B5EF4-FFF2-40B4-BE49-F238E27FC236}">
                  <a16:creationId xmlns:a16="http://schemas.microsoft.com/office/drawing/2014/main" id="{AA968D13-0D79-4193-A6D7-BCD3C114406A}"/>
                </a:ext>
              </a:extLst>
            </p:cNvPr>
            <p:cNvSpPr/>
            <p:nvPr/>
          </p:nvSpPr>
          <p:spPr bwMode="gray">
            <a:xfrm>
              <a:off x="2823056" y="3941916"/>
              <a:ext cx="952305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reate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supplier invoice</a:t>
              </a:r>
            </a:p>
          </p:txBody>
        </p:sp>
        <p:sp>
          <p:nvSpPr>
            <p:cNvPr id="402" name="Rectangle 401">
              <a:extLst>
                <a:ext uri="{FF2B5EF4-FFF2-40B4-BE49-F238E27FC236}">
                  <a16:creationId xmlns:a16="http://schemas.microsoft.com/office/drawing/2014/main" id="{BD2A5943-4D84-40EE-8361-7E61978F76DF}"/>
                </a:ext>
              </a:extLst>
            </p:cNvPr>
            <p:cNvSpPr/>
            <p:nvPr/>
          </p:nvSpPr>
          <p:spPr bwMode="gray">
            <a:xfrm>
              <a:off x="3416268" y="3495386"/>
              <a:ext cx="1106917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Process 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accounts payable</a:t>
              </a:r>
            </a:p>
          </p:txBody>
        </p:sp>
        <p:sp>
          <p:nvSpPr>
            <p:cNvPr id="403" name="Rectangle 402">
              <a:extLst>
                <a:ext uri="{FF2B5EF4-FFF2-40B4-BE49-F238E27FC236}">
                  <a16:creationId xmlns:a16="http://schemas.microsoft.com/office/drawing/2014/main" id="{13EAA9FE-564B-41B0-9C17-AA288F02D8C4}"/>
                </a:ext>
              </a:extLst>
            </p:cNvPr>
            <p:cNvSpPr/>
            <p:nvPr/>
          </p:nvSpPr>
          <p:spPr bwMode="gray">
            <a:xfrm>
              <a:off x="4121770" y="3999934"/>
              <a:ext cx="1030170" cy="227010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 payable 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financing</a:t>
              </a:r>
            </a:p>
          </p:txBody>
        </p:sp>
        <p:sp>
          <p:nvSpPr>
            <p:cNvPr id="404" name="Rectangle 403">
              <a:extLst>
                <a:ext uri="{FF2B5EF4-FFF2-40B4-BE49-F238E27FC236}">
                  <a16:creationId xmlns:a16="http://schemas.microsoft.com/office/drawing/2014/main" id="{2B7C2234-7929-4067-B09F-C240324A71D4}"/>
                </a:ext>
              </a:extLst>
            </p:cNvPr>
            <p:cNvSpPr/>
            <p:nvPr/>
          </p:nvSpPr>
          <p:spPr bwMode="gray">
            <a:xfrm>
              <a:off x="2845179" y="4931421"/>
              <a:ext cx="728150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 working </a:t>
              </a:r>
            </a:p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apital</a:t>
              </a:r>
            </a:p>
          </p:txBody>
        </p:sp>
        <p:sp>
          <p:nvSpPr>
            <p:cNvPr id="405" name="Rectangle 404">
              <a:extLst>
                <a:ext uri="{FF2B5EF4-FFF2-40B4-BE49-F238E27FC236}">
                  <a16:creationId xmlns:a16="http://schemas.microsoft.com/office/drawing/2014/main" id="{47B21786-560E-4330-9ECB-2D9DB267209D}"/>
                </a:ext>
              </a:extLst>
            </p:cNvPr>
            <p:cNvSpPr/>
            <p:nvPr/>
          </p:nvSpPr>
          <p:spPr bwMode="gray">
            <a:xfrm>
              <a:off x="3567880" y="5255957"/>
              <a:ext cx="571944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Bank </a:t>
              </a:r>
              <a:r>
                <a:rPr lang="en-US" sz="800" kern="0" err="1">
                  <a:solidFill>
                    <a:srgbClr val="000000"/>
                  </a:solidFill>
                  <a:ea typeface="Arial Unicode MS" pitchFamily="34" charset="-128"/>
                </a:rPr>
                <a:t>commun-ication</a:t>
              </a:r>
              <a:endParaRPr lang="en-US" sz="800" kern="0">
                <a:solidFill>
                  <a:srgbClr val="000000"/>
                </a:solidFill>
                <a:ea typeface="Arial Unicode MS" pitchFamily="34" charset="-128"/>
              </a:endParaRPr>
            </a:p>
          </p:txBody>
        </p:sp>
        <p:sp>
          <p:nvSpPr>
            <p:cNvPr id="406" name="Rectangle 405">
              <a:extLst>
                <a:ext uri="{FF2B5EF4-FFF2-40B4-BE49-F238E27FC236}">
                  <a16:creationId xmlns:a16="http://schemas.microsoft.com/office/drawing/2014/main" id="{7F36898B-7F28-4E5B-B530-0BAFB35F9D38}"/>
                </a:ext>
              </a:extLst>
            </p:cNvPr>
            <p:cNvSpPr/>
            <p:nvPr/>
          </p:nvSpPr>
          <p:spPr bwMode="gray">
            <a:xfrm>
              <a:off x="4296929" y="4951057"/>
              <a:ext cx="664498" cy="330125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Process payments</a:t>
              </a:r>
            </a:p>
          </p:txBody>
        </p:sp>
        <p:sp>
          <p:nvSpPr>
            <p:cNvPr id="407" name="TextBox 406">
              <a:extLst>
                <a:ext uri="{FF2B5EF4-FFF2-40B4-BE49-F238E27FC236}">
                  <a16:creationId xmlns:a16="http://schemas.microsoft.com/office/drawing/2014/main" id="{107C5E58-B663-4E21-AD9A-D9DEA5428D78}"/>
                </a:ext>
              </a:extLst>
            </p:cNvPr>
            <p:cNvSpPr txBox="1"/>
            <p:nvPr/>
          </p:nvSpPr>
          <p:spPr>
            <a:xfrm>
              <a:off x="5690926" y="4475042"/>
              <a:ext cx="749797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8779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Order &amp;</a:t>
              </a:r>
              <a:b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Fulfill</a:t>
              </a:r>
            </a:p>
          </p:txBody>
        </p:sp>
        <p:sp>
          <p:nvSpPr>
            <p:cNvPr id="408" name="TextBox 407">
              <a:extLst>
                <a:ext uri="{FF2B5EF4-FFF2-40B4-BE49-F238E27FC236}">
                  <a16:creationId xmlns:a16="http://schemas.microsoft.com/office/drawing/2014/main" id="{B28FE0B1-E20C-451B-A575-F9BEDE6D1789}"/>
                </a:ext>
              </a:extLst>
            </p:cNvPr>
            <p:cNvSpPr txBox="1"/>
            <p:nvPr/>
          </p:nvSpPr>
          <p:spPr>
            <a:xfrm>
              <a:off x="7985860" y="4475042"/>
              <a:ext cx="749797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87796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Bill &amp;</a:t>
              </a:r>
              <a:b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llect</a:t>
              </a:r>
            </a:p>
          </p:txBody>
        </p:sp>
        <p:sp>
          <p:nvSpPr>
            <p:cNvPr id="409" name="TextBox 408">
              <a:extLst>
                <a:ext uri="{FF2B5EF4-FFF2-40B4-BE49-F238E27FC236}">
                  <a16:creationId xmlns:a16="http://schemas.microsoft.com/office/drawing/2014/main" id="{7A18BEEF-3042-44C5-BFD3-EA90F66FE6A3}"/>
                </a:ext>
              </a:extLst>
            </p:cNvPr>
            <p:cNvSpPr txBox="1"/>
            <p:nvPr/>
          </p:nvSpPr>
          <p:spPr>
            <a:xfrm>
              <a:off x="1283593" y="4475042"/>
              <a:ext cx="749602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Buy &amp; </a:t>
              </a:r>
              <a:b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eceive</a:t>
              </a:r>
            </a:p>
          </p:txBody>
        </p:sp>
        <p:sp>
          <p:nvSpPr>
            <p:cNvPr id="410" name="TextBox 409">
              <a:extLst>
                <a:ext uri="{FF2B5EF4-FFF2-40B4-BE49-F238E27FC236}">
                  <a16:creationId xmlns:a16="http://schemas.microsoft.com/office/drawing/2014/main" id="{7E6B7797-5133-4416-B5B8-AD67D0789E3D}"/>
                </a:ext>
              </a:extLst>
            </p:cNvPr>
            <p:cNvSpPr txBox="1"/>
            <p:nvPr/>
          </p:nvSpPr>
          <p:spPr>
            <a:xfrm>
              <a:off x="3531055" y="4432350"/>
              <a:ext cx="716311" cy="3231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87470" fontAlgn="base"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Invoice &amp; Pay</a:t>
              </a:r>
            </a:p>
          </p:txBody>
        </p:sp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74995A14-DA1B-4C6C-B9BA-0042C9A02519}"/>
                </a:ext>
              </a:extLst>
            </p:cNvPr>
            <p:cNvSpPr txBox="1"/>
            <p:nvPr/>
          </p:nvSpPr>
          <p:spPr>
            <a:xfrm>
              <a:off x="10193919" y="4394250"/>
              <a:ext cx="804803" cy="3232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87470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r>
                <a:rPr lang="en-US" sz="1050" b="1" ker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Record to Report, FP&amp;A</a:t>
              </a:r>
            </a:p>
          </p:txBody>
        </p:sp>
        <p:sp>
          <p:nvSpPr>
            <p:cNvPr id="412" name="Rectangle 411">
              <a:extLst>
                <a:ext uri="{FF2B5EF4-FFF2-40B4-BE49-F238E27FC236}">
                  <a16:creationId xmlns:a16="http://schemas.microsoft.com/office/drawing/2014/main" id="{95A97EA3-91E8-4632-BEAC-B7A345EFCEDB}"/>
                </a:ext>
              </a:extLst>
            </p:cNvPr>
            <p:cNvSpPr/>
            <p:nvPr/>
          </p:nvSpPr>
          <p:spPr bwMode="gray">
            <a:xfrm>
              <a:off x="9472317" y="4015136"/>
              <a:ext cx="758863" cy="219626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Record</a:t>
              </a:r>
            </a:p>
          </p:txBody>
        </p:sp>
        <p:sp>
          <p:nvSpPr>
            <p:cNvPr id="413" name="Rectangle 412">
              <a:extLst>
                <a:ext uri="{FF2B5EF4-FFF2-40B4-BE49-F238E27FC236}">
                  <a16:creationId xmlns:a16="http://schemas.microsoft.com/office/drawing/2014/main" id="{844A854C-07BD-4891-9B59-4F8A9787A339}"/>
                </a:ext>
              </a:extLst>
            </p:cNvPr>
            <p:cNvSpPr/>
            <p:nvPr/>
          </p:nvSpPr>
          <p:spPr bwMode="gray">
            <a:xfrm>
              <a:off x="10180673" y="3585036"/>
              <a:ext cx="758863" cy="25847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Financial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accounting</a:t>
              </a:r>
            </a:p>
          </p:txBody>
        </p:sp>
        <p:sp>
          <p:nvSpPr>
            <p:cNvPr id="414" name="Rectangle 413">
              <a:extLst>
                <a:ext uri="{FF2B5EF4-FFF2-40B4-BE49-F238E27FC236}">
                  <a16:creationId xmlns:a16="http://schemas.microsoft.com/office/drawing/2014/main" id="{DD79E946-7408-4285-96C2-797FCB22ED02}"/>
                </a:ext>
              </a:extLst>
            </p:cNvPr>
            <p:cNvSpPr/>
            <p:nvPr/>
          </p:nvSpPr>
          <p:spPr bwMode="gray">
            <a:xfrm>
              <a:off x="10998722" y="3937727"/>
              <a:ext cx="758863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Perform financial </a:t>
              </a:r>
              <a:b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</a:b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close</a:t>
              </a:r>
            </a:p>
          </p:txBody>
        </p:sp>
        <p:sp>
          <p:nvSpPr>
            <p:cNvPr id="415" name="Rectangle 414">
              <a:extLst>
                <a:ext uri="{FF2B5EF4-FFF2-40B4-BE49-F238E27FC236}">
                  <a16:creationId xmlns:a16="http://schemas.microsoft.com/office/drawing/2014/main" id="{901F0E5F-5BB2-4537-A621-82DD71674788}"/>
                </a:ext>
              </a:extLst>
            </p:cNvPr>
            <p:cNvSpPr/>
            <p:nvPr/>
          </p:nvSpPr>
          <p:spPr bwMode="gray">
            <a:xfrm>
              <a:off x="10231180" y="5384963"/>
              <a:ext cx="699791" cy="243404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Financial reporting</a:t>
              </a:r>
            </a:p>
          </p:txBody>
        </p:sp>
        <p:sp>
          <p:nvSpPr>
            <p:cNvPr id="416" name="Rectangle 415">
              <a:extLst>
                <a:ext uri="{FF2B5EF4-FFF2-40B4-BE49-F238E27FC236}">
                  <a16:creationId xmlns:a16="http://schemas.microsoft.com/office/drawing/2014/main" id="{05BB0FC5-3A5F-4AD7-861E-44F8BEC43D3B}"/>
                </a:ext>
              </a:extLst>
            </p:cNvPr>
            <p:cNvSpPr/>
            <p:nvPr/>
          </p:nvSpPr>
          <p:spPr bwMode="gray">
            <a:xfrm>
              <a:off x="10912105" y="4930490"/>
              <a:ext cx="923054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Management Reporting</a:t>
              </a:r>
            </a:p>
          </p:txBody>
        </p:sp>
        <p:cxnSp>
          <p:nvCxnSpPr>
            <p:cNvPr id="417" name="Straight Arrow Connector 416">
              <a:extLst>
                <a:ext uri="{FF2B5EF4-FFF2-40B4-BE49-F238E27FC236}">
                  <a16:creationId xmlns:a16="http://schemas.microsoft.com/office/drawing/2014/main" id="{6FE4F475-8904-4828-91F5-D920798FFCD6}"/>
                </a:ext>
              </a:extLst>
            </p:cNvPr>
            <p:cNvCxnSpPr>
              <a:cxnSpLocks/>
            </p:cNvCxnSpPr>
            <p:nvPr/>
          </p:nvCxnSpPr>
          <p:spPr>
            <a:xfrm>
              <a:off x="3269511" y="4621862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418" name="Straight Arrow Connector 417">
              <a:extLst>
                <a:ext uri="{FF2B5EF4-FFF2-40B4-BE49-F238E27FC236}">
                  <a16:creationId xmlns:a16="http://schemas.microsoft.com/office/drawing/2014/main" id="{DFF0E095-154E-4808-80F8-318713DE7FF4}"/>
                </a:ext>
              </a:extLst>
            </p:cNvPr>
            <p:cNvCxnSpPr>
              <a:cxnSpLocks/>
            </p:cNvCxnSpPr>
            <p:nvPr/>
          </p:nvCxnSpPr>
          <p:spPr>
            <a:xfrm>
              <a:off x="4105731" y="4621862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419" name="Straight Arrow Connector 418">
              <a:extLst>
                <a:ext uri="{FF2B5EF4-FFF2-40B4-BE49-F238E27FC236}">
                  <a16:creationId xmlns:a16="http://schemas.microsoft.com/office/drawing/2014/main" id="{2B768878-B5A6-43C5-A83A-4F70E63D02B2}"/>
                </a:ext>
              </a:extLst>
            </p:cNvPr>
            <p:cNvCxnSpPr>
              <a:cxnSpLocks/>
            </p:cNvCxnSpPr>
            <p:nvPr/>
          </p:nvCxnSpPr>
          <p:spPr>
            <a:xfrm>
              <a:off x="1015593" y="4620259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cxnSp>
          <p:nvCxnSpPr>
            <p:cNvPr id="420" name="Straight Arrow Connector 419">
              <a:extLst>
                <a:ext uri="{FF2B5EF4-FFF2-40B4-BE49-F238E27FC236}">
                  <a16:creationId xmlns:a16="http://schemas.microsoft.com/office/drawing/2014/main" id="{588E71F6-96AB-40D0-B3E8-D700F14B5B94}"/>
                </a:ext>
              </a:extLst>
            </p:cNvPr>
            <p:cNvCxnSpPr>
              <a:cxnSpLocks/>
            </p:cNvCxnSpPr>
            <p:nvPr/>
          </p:nvCxnSpPr>
          <p:spPr>
            <a:xfrm>
              <a:off x="1851813" y="4620259"/>
              <a:ext cx="374101" cy="0"/>
            </a:xfrm>
            <a:prstGeom prst="straightConnector1">
              <a:avLst/>
            </a:prstGeom>
            <a:noFill/>
            <a:ln w="19050" cap="rnd" cmpd="sng" algn="ctr">
              <a:solidFill>
                <a:srgbClr val="000000"/>
              </a:solidFill>
              <a:prstDash val="sysDot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421" name="Rectangle 420">
              <a:extLst>
                <a:ext uri="{FF2B5EF4-FFF2-40B4-BE49-F238E27FC236}">
                  <a16:creationId xmlns:a16="http://schemas.microsoft.com/office/drawing/2014/main" id="{67DDA409-5D87-471D-8C38-0ACCB2CA158B}"/>
                </a:ext>
              </a:extLst>
            </p:cNvPr>
            <p:cNvSpPr/>
            <p:nvPr/>
          </p:nvSpPr>
          <p:spPr bwMode="gray">
            <a:xfrm>
              <a:off x="9250046" y="4966032"/>
              <a:ext cx="1084090" cy="358882"/>
            </a:xfrm>
            <a:prstGeom prst="rect">
              <a:avLst/>
            </a:prstGeom>
            <a:solidFill>
              <a:schemeClr val="bg1"/>
            </a:solidFill>
            <a:ln w="25400" algn="ctr">
              <a:noFill/>
              <a:miter lim="800000"/>
              <a:headEnd/>
              <a:tailEnd/>
            </a:ln>
          </p:spPr>
          <p:txBody>
            <a:bodyPr wrap="square" lIns="89908" tIns="71924" rIns="89908" bIns="71924" rtlCol="0" anchor="ctr"/>
            <a:lstStyle/>
            <a:p>
              <a:pPr algn="ctr" defTabSz="913304" fontAlgn="base"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800" kern="0">
                  <a:solidFill>
                    <a:srgbClr val="000000"/>
                  </a:solidFill>
                  <a:ea typeface="Arial Unicode MS" pitchFamily="34" charset="-128"/>
                </a:rPr>
                <a:t>Financial Planning, Budgeting + Forecas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42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OPcqPL7Wfhe_ynaMW2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"/>
  <p:tag name="2LEVEL" val="1"/>
  <p:tag name="3LEVEL" val="0.5"/>
  <p:tag name="4LEVEL" val="0.25"/>
  <p:tag name="5LEVEL" val="0.12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Quotable">
  <a:themeElements>
    <a:clrScheme name="Quotable">
      <a:dk1>
        <a:sysClr val="windowText" lastClr="000000"/>
      </a:dk1>
      <a:lt1>
        <a:sysClr val="window" lastClr="FFFFFF"/>
      </a:lt1>
      <a:dk2>
        <a:srgbClr val="212121"/>
      </a:dk2>
      <a:lt2>
        <a:srgbClr val="636363"/>
      </a:lt2>
      <a:accent1>
        <a:srgbClr val="00C6BB"/>
      </a:accent1>
      <a:accent2>
        <a:srgbClr val="6FEBA0"/>
      </a:accent2>
      <a:accent3>
        <a:srgbClr val="B6DF5E"/>
      </a:accent3>
      <a:accent4>
        <a:srgbClr val="EFB251"/>
      </a:accent4>
      <a:accent5>
        <a:srgbClr val="EF755F"/>
      </a:accent5>
      <a:accent6>
        <a:srgbClr val="ED515C"/>
      </a:accent6>
      <a:hlink>
        <a:srgbClr val="8F8F8F"/>
      </a:hlink>
      <a:folHlink>
        <a:srgbClr val="A5A5A5"/>
      </a:folHlink>
    </a:clrScheme>
    <a:fontScheme name="Quotable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Quotable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lumMod val="105000"/>
              </a:schemeClr>
            </a:gs>
            <a:gs pos="100000">
              <a:schemeClr val="phClr">
                <a:tint val="9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8000"/>
                <a:lumMod val="102000"/>
              </a:schemeClr>
              <a:schemeClr val="phClr">
                <a:shade val="98000"/>
                <a:lumMod val="98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63500" dist="25400" dir="13500000">
              <a:srgbClr val="000000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</a:schemeClr>
            </a:gs>
            <a:gs pos="100000">
              <a:schemeClr val="phClr">
                <a:tint val="84000"/>
                <a:shade val="84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90000"/>
                <a:satMod val="120000"/>
                <a:lumMod val="90000"/>
              </a:schemeClr>
            </a:gs>
            <a:gs pos="100000">
              <a:schemeClr val="phClr"/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uotable" id="{39EC5628-30ED-4578-ACD8-9820EDB8E15A}" vid="{6F3559E9-1A4C-49D8-94D4-F41003531C49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58cfa1de-6aea-4694-b2c3-d297ff41cac6" xsi:nil="true"/>
    <TaxCatchAll xmlns="f30feb56-18b9-48ce-bf47-6e6900332ec3" xsi:nil="true"/>
    <lcf76f155ced4ddcb4097134ff3c332f xmlns="58cfa1de-6aea-4694-b2c3-d297ff41cac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C7064E3F524F4BA56313D2825AC6C0" ma:contentTypeVersion="17" ma:contentTypeDescription="Create a new document." ma:contentTypeScope="" ma:versionID="0da823f368e8682a0dd4345ada30c972">
  <xsd:schema xmlns:xsd="http://www.w3.org/2001/XMLSchema" xmlns:xs="http://www.w3.org/2001/XMLSchema" xmlns:p="http://schemas.microsoft.com/office/2006/metadata/properties" xmlns:ns2="f30feb56-18b9-48ce-bf47-6e6900332ec3" xmlns:ns3="58cfa1de-6aea-4694-b2c3-d297ff41cac6" targetNamespace="http://schemas.microsoft.com/office/2006/metadata/properties" ma:root="true" ma:fieldsID="1e45a36502e8ae6f212c7744012782c6" ns2:_="" ns3:_="">
    <xsd:import namespace="f30feb56-18b9-48ce-bf47-6e6900332ec3"/>
    <xsd:import namespace="58cfa1de-6aea-4694-b2c3-d297ff41cac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_Flow_SignoffStatus" minOccurs="0"/>
                <xsd:element ref="ns3:MediaServiceEventHashCode" minOccurs="0"/>
                <xsd:element ref="ns3:MediaServiceGenerationTime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0feb56-18b9-48ce-bf47-6e6900332ec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77f6fa9-64d5-4873-ae46-921c4dff1ae1}" ma:internalName="TaxCatchAll" ma:showField="CatchAllData" ma:web="f30feb56-18b9-48ce-bf47-6e6900332e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cfa1de-6aea-4694-b2c3-d297ff41ca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_Flow_SignoffStatus" ma:index="12" nillable="true" ma:displayName="Sign-off status" ma:internalName="_x0024_Resources_x003a_core_x002c_Signoff_Status_x003b_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6f15632-b304-49da-92fa-05eba147a0b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TemplateConfiguration><![CDATA[{"slideVersion":1,"isValidatorEnabled":false,"isLocked":false,"elementsMetadata":[],"slideId":"637593499771816423","enableDocumentContentUpdater":true,"version":"2.0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7593499771816423","enableDocumentContentUpdater":true,"version":"2.0"}]]></TemplafySlideTemplateConfiguration>
</file>

<file path=customXml/itemProps1.xml><?xml version="1.0" encoding="utf-8"?>
<ds:datastoreItem xmlns:ds="http://schemas.openxmlformats.org/officeDocument/2006/customXml" ds:itemID="{09F4E36E-7266-40DE-9998-F2E1BF34DB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5AE8DC-0B17-4B57-8100-311A39CCD5AB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f30feb56-18b9-48ce-bf47-6e6900332ec3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58cfa1de-6aea-4694-b2c3-d297ff41cac6"/>
  </ds:schemaRefs>
</ds:datastoreItem>
</file>

<file path=customXml/itemProps3.xml><?xml version="1.0" encoding="utf-8"?>
<ds:datastoreItem xmlns:ds="http://schemas.openxmlformats.org/officeDocument/2006/customXml" ds:itemID="{21892E60-104E-4381-A04E-C4B4A68383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0feb56-18b9-48ce-bf47-6e6900332ec3"/>
    <ds:schemaRef ds:uri="58cfa1de-6aea-4694-b2c3-d297ff41ca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2078FCE-F132-43DF-86C0-AE6811E9B0EE}">
  <ds:schemaRefs/>
</ds:datastoreItem>
</file>

<file path=customXml/itemProps5.xml><?xml version="1.0" encoding="utf-8"?>
<ds:datastoreItem xmlns:ds="http://schemas.openxmlformats.org/officeDocument/2006/customXml" ds:itemID="{C6FC0A96-ADA4-40AB-9B92-E24FF2E1767C}">
  <ds:schemaRefs/>
</ds:datastoreItem>
</file>

<file path=customXml/itemProps6.xml><?xml version="1.0" encoding="utf-8"?>
<ds:datastoreItem xmlns:ds="http://schemas.openxmlformats.org/officeDocument/2006/customXml" ds:itemID="{8A4743B1-00A3-481E-9214-CB600F5CF9EC}">
  <ds:schemaRefs/>
</ds:datastoreItem>
</file>

<file path=customXml/itemProps7.xml><?xml version="1.0" encoding="utf-8"?>
<ds:datastoreItem xmlns:ds="http://schemas.openxmlformats.org/officeDocument/2006/customXml" ds:itemID="{C99A35F1-076B-4D15-9846-C32B690CE31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Quotable</Template>
  <TotalTime>3228</TotalTime>
  <Words>4133</Words>
  <Application>Microsoft Office PowerPoint</Application>
  <PresentationFormat>Widescreen</PresentationFormat>
  <Paragraphs>613</Paragraphs>
  <Slides>27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6" baseType="lpstr">
      <vt:lpstr>Arial</vt:lpstr>
      <vt:lpstr>Arial,Sans-Serif</vt:lpstr>
      <vt:lpstr>Benton Sans</vt:lpstr>
      <vt:lpstr>BentonSans Bold</vt:lpstr>
      <vt:lpstr>Calibri</vt:lpstr>
      <vt:lpstr>Calibri Light</vt:lpstr>
      <vt:lpstr>Century Gothic</vt:lpstr>
      <vt:lpstr>inherit</vt:lpstr>
      <vt:lpstr>Proxima Nova Light</vt:lpstr>
      <vt:lpstr>Proxima Nova Rg</vt:lpstr>
      <vt:lpstr>Segoe UI</vt:lpstr>
      <vt:lpstr>Wingdings</vt:lpstr>
      <vt:lpstr>Wingdings 2</vt:lpstr>
      <vt:lpstr>Quotable</vt:lpstr>
      <vt:lpstr>2_Custom Design</vt:lpstr>
      <vt:lpstr>8_Custom Design</vt:lpstr>
      <vt:lpstr>5_Custom Design</vt:lpstr>
      <vt:lpstr>1_Custom Design</vt:lpstr>
      <vt:lpstr>think-cell Slide</vt:lpstr>
      <vt:lpstr>PowerPoint Presentation</vt:lpstr>
      <vt:lpstr>Speaker introduction</vt:lpstr>
      <vt:lpstr>PowerPoint Presentation</vt:lpstr>
      <vt:lpstr>PowerPoint Presentation</vt:lpstr>
      <vt:lpstr>S/4HANA Cloud, public edition:  Key differentiating qualities</vt:lpstr>
      <vt:lpstr>Leader in Finance and Service-Centric Domai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lexibility/extensibility </vt:lpstr>
      <vt:lpstr>Release and Update Cycle* </vt:lpstr>
      <vt:lpstr>World-class UX with SAP Fiori</vt:lpstr>
      <vt:lpstr>PowerPoint Presentation</vt:lpstr>
      <vt:lpstr>2-tier ERP Overview – for large enterprises (on SAP ECC or S/4HANA)</vt:lpstr>
      <vt:lpstr>Benefits from a 2-tier ERP model</vt:lpstr>
      <vt:lpstr>PowerPoint Presentation</vt:lpstr>
      <vt:lpstr>SAP Activate – Deployment methodology</vt:lpstr>
      <vt:lpstr>Enablers for SAP Activate </vt:lpstr>
      <vt:lpstr>PowerPoint Presentation</vt:lpstr>
      <vt:lpstr>SAP Activate phases </vt:lpstr>
      <vt:lpstr>Cloud Mindset – key ingredient for success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Brett</dc:creator>
  <cp:lastModifiedBy>Barua, Anurag</cp:lastModifiedBy>
  <cp:revision>254</cp:revision>
  <cp:lastPrinted>2019-07-12T15:23:43Z</cp:lastPrinted>
  <dcterms:created xsi:type="dcterms:W3CDTF">2019-06-20T17:26:24Z</dcterms:created>
  <dcterms:modified xsi:type="dcterms:W3CDTF">2023-12-08T17:5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C7064E3F524F4BA56313D2825AC6C0</vt:lpwstr>
  </property>
</Properties>
</file>